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962" r:id="rId4"/>
    <p:sldMasterId id="2147484036" r:id="rId5"/>
  </p:sldMasterIdLst>
  <p:notesMasterIdLst>
    <p:notesMasterId r:id="rId18"/>
  </p:notesMasterIdLst>
  <p:handoutMasterIdLst>
    <p:handoutMasterId r:id="rId19"/>
  </p:handoutMasterIdLst>
  <p:sldIdLst>
    <p:sldId id="1042" r:id="rId6"/>
    <p:sldId id="1007" r:id="rId7"/>
    <p:sldId id="2147471014" r:id="rId8"/>
    <p:sldId id="2147471015" r:id="rId9"/>
    <p:sldId id="2147471016" r:id="rId10"/>
    <p:sldId id="2147471017" r:id="rId11"/>
    <p:sldId id="2147471018" r:id="rId12"/>
    <p:sldId id="2145706652" r:id="rId13"/>
    <p:sldId id="2147471025" r:id="rId14"/>
    <p:sldId id="2147471019" r:id="rId15"/>
    <p:sldId id="2147471022" r:id="rId16"/>
    <p:sldId id="2147471023" r:id="rId17"/>
  </p:sldIdLst>
  <p:sldSz cx="12192000" cy="6858000"/>
  <p:notesSz cx="6858000" cy="9144000"/>
  <p:embeddedFontLst>
    <p:embeddedFont>
      <p:font typeface="Ubuntu" panose="020B0504030602030204" pitchFamily="34" charset="0"/>
      <p:regular r:id="rId20"/>
      <p:bold r:id="rId21"/>
      <p:italic r:id="rId22"/>
      <p:boldItalic r:id="rId23"/>
    </p:embeddedFont>
    <p:embeddedFont>
      <p:font typeface="Ubuntu Light" panose="020B0304030602030204" pitchFamily="34" charset="0"/>
      <p:regular r:id="rId24"/>
      <p:italic r:id="rId25"/>
    </p:embeddedFont>
    <p:embeddedFont>
      <p:font typeface="Ubuntu Medium" panose="020B0604030602030204" pitchFamily="34" charset="0"/>
      <p:regular r:id="rId26"/>
      <p:italic r:id="rId27"/>
    </p:embeddedFont>
  </p:embeddedFontLst>
  <p:custDataLst>
    <p:tags r:id="rId28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bout the template" id="{2AC87FFF-C56C-4F81-A530-CF4D1204AE80}">
          <p14:sldIdLst/>
        </p14:section>
        <p14:section name="Layouts" id="{488E0A91-8EC8-4254-9B9D-B822E7B72AE5}">
          <p14:sldIdLst>
            <p14:sldId id="1042"/>
            <p14:sldId id="1007"/>
            <p14:sldId id="2147471014"/>
            <p14:sldId id="2147471015"/>
            <p14:sldId id="2147471016"/>
            <p14:sldId id="2147471017"/>
            <p14:sldId id="2147471018"/>
            <p14:sldId id="2145706652"/>
            <p14:sldId id="2147471025"/>
            <p14:sldId id="2147471019"/>
            <p14:sldId id="2147471022"/>
            <p14:sldId id="2147471023"/>
          </p14:sldIdLst>
        </p14:section>
        <p14:section name="Graphic elements" id="{C0DD4031-6DBF-4075-A497-22BD71697F2E}">
          <p14:sldIdLst/>
        </p14:section>
        <p14:section name="RWC23 slide options" id="{6D020CD6-6950-413C-8EB5-64CF96C2D38D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000000"/>
    <a:srgbClr val="0070AD"/>
    <a:srgbClr val="FFFFFF"/>
    <a:srgbClr val="FF5050"/>
    <a:srgbClr val="173340"/>
    <a:srgbClr val="178C3D"/>
    <a:srgbClr val="272936"/>
    <a:srgbClr val="ECECEC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99EBA4-A51D-4019-9D5F-45F0119B4933}" v="317" dt="2022-10-27T18:39:51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5" autoAdjust="0"/>
    <p:restoredTop sz="93907" autoAdjust="0"/>
  </p:normalViewPr>
  <p:slideViewPr>
    <p:cSldViewPr snapToObjects="1">
      <p:cViewPr varScale="1">
        <p:scale>
          <a:sx n="103" d="100"/>
          <a:sy n="103" d="100"/>
        </p:scale>
        <p:origin x="336" y="72"/>
      </p:cViewPr>
      <p:guideLst>
        <p:guide orient="horz" pos="2341"/>
        <p:guide pos="3840"/>
      </p:guideLst>
    </p:cSldViewPr>
  </p:slideViewPr>
  <p:outlineViewPr>
    <p:cViewPr>
      <p:scale>
        <a:sx n="33" d="100"/>
        <a:sy n="33" d="100"/>
      </p:scale>
      <p:origin x="0" y="-1437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6.fntdata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0F615C-3982-45B6-A15E-05F5EAA7F739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6AA1BFD-6C1D-489A-A78E-F5BC0D291D9A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pPr algn="l"/>
          <a:r>
            <a:rPr lang="en-US" sz="2400" b="1" dirty="0">
              <a:solidFill>
                <a:srgbClr val="FF7C80"/>
              </a:solidFill>
            </a:rPr>
            <a:t>2</a:t>
          </a:r>
          <a:r>
            <a:rPr lang="en-US" sz="2000" b="1" dirty="0"/>
            <a:t>  </a:t>
          </a:r>
          <a:r>
            <a:rPr lang="en-US" sz="1800" b="0" dirty="0"/>
            <a:t>High</a:t>
          </a:r>
        </a:p>
      </dgm:t>
    </dgm:pt>
    <dgm:pt modelId="{D2E6F66D-DC74-4785-B173-DAD4315D7E30}" type="parTrans" cxnId="{BED4F064-9017-4CA2-A734-F36657FC16CD}">
      <dgm:prSet/>
      <dgm:spPr/>
      <dgm:t>
        <a:bodyPr/>
        <a:lstStyle/>
        <a:p>
          <a:endParaRPr lang="en-US"/>
        </a:p>
      </dgm:t>
    </dgm:pt>
    <dgm:pt modelId="{8641B4CE-B63A-47D8-94EA-405B8EDACD6D}" type="sibTrans" cxnId="{BED4F064-9017-4CA2-A734-F36657FC16CD}">
      <dgm:prSet/>
      <dgm:spPr/>
      <dgm:t>
        <a:bodyPr/>
        <a:lstStyle/>
        <a:p>
          <a:endParaRPr lang="en-US"/>
        </a:p>
      </dgm:t>
    </dgm:pt>
    <dgm:pt modelId="{AAAFCB7B-F7B6-49F5-AB73-8D72FEA65DEA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/>
            <a:t>Imperative to fix, needs to be  worked on before the product can be released</a:t>
          </a:r>
          <a:r>
            <a:rPr lang="en-US" sz="1400" dirty="0"/>
            <a:t>:</a:t>
          </a:r>
        </a:p>
      </dgm:t>
    </dgm:pt>
    <dgm:pt modelId="{F5AE5A2B-0D61-4594-99DB-5CAC03344B16}" type="parTrans" cxnId="{8795A172-B5A8-40EE-A86F-B079D1AE1558}">
      <dgm:prSet/>
      <dgm:spPr/>
      <dgm:t>
        <a:bodyPr/>
        <a:lstStyle/>
        <a:p>
          <a:endParaRPr lang="en-US"/>
        </a:p>
      </dgm:t>
    </dgm:pt>
    <dgm:pt modelId="{121DE8C6-018C-4DE8-90BB-4F11F88E71A8}" type="sibTrans" cxnId="{8795A172-B5A8-40EE-A86F-B079D1AE1558}">
      <dgm:prSet/>
      <dgm:spPr/>
      <dgm:t>
        <a:bodyPr/>
        <a:lstStyle/>
        <a:p>
          <a:endParaRPr lang="en-US"/>
        </a:p>
      </dgm:t>
    </dgm:pt>
    <dgm:pt modelId="{5E9378D2-9341-4915-8DAA-F5752FEDEDD8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pPr algn="l"/>
          <a:r>
            <a:rPr lang="en-US" sz="2400" b="1" dirty="0">
              <a:solidFill>
                <a:srgbClr val="FFC000"/>
              </a:solidFill>
            </a:rPr>
            <a:t>5</a:t>
          </a:r>
          <a:r>
            <a:rPr lang="en-US" sz="2000" b="1" dirty="0"/>
            <a:t>  </a:t>
          </a:r>
          <a:r>
            <a:rPr lang="en-US" sz="1800" b="0" dirty="0"/>
            <a:t>Medium</a:t>
          </a:r>
        </a:p>
      </dgm:t>
    </dgm:pt>
    <dgm:pt modelId="{31F44A63-520C-4F19-8128-85238BD82C4D}" type="parTrans" cxnId="{499681B1-BC97-4116-963E-5B7320197FD6}">
      <dgm:prSet/>
      <dgm:spPr/>
      <dgm:t>
        <a:bodyPr/>
        <a:lstStyle/>
        <a:p>
          <a:endParaRPr lang="en-US"/>
        </a:p>
      </dgm:t>
    </dgm:pt>
    <dgm:pt modelId="{E02A07FF-8A71-4AE5-AA90-F0FC337118EB}" type="sibTrans" cxnId="{499681B1-BC97-4116-963E-5B7320197FD6}">
      <dgm:prSet/>
      <dgm:spPr/>
      <dgm:t>
        <a:bodyPr/>
        <a:lstStyle/>
        <a:p>
          <a:endParaRPr lang="en-US"/>
        </a:p>
      </dgm:t>
    </dgm:pt>
    <dgm:pt modelId="{32045831-9FFF-4D16-B40A-29604850C15C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/>
            <a:t>Important to fix and should be considered before product can be released:</a:t>
          </a:r>
        </a:p>
      </dgm:t>
    </dgm:pt>
    <dgm:pt modelId="{9CAC3019-CBD2-4289-87B9-5F86A630446E}" type="parTrans" cxnId="{8966F014-51CF-4887-9816-A9E0F4176F86}">
      <dgm:prSet/>
      <dgm:spPr/>
      <dgm:t>
        <a:bodyPr/>
        <a:lstStyle/>
        <a:p>
          <a:endParaRPr lang="en-US"/>
        </a:p>
      </dgm:t>
    </dgm:pt>
    <dgm:pt modelId="{AD5548B5-300B-483C-8A6D-10025A05341C}" type="sibTrans" cxnId="{8966F014-51CF-4887-9816-A9E0F4176F86}">
      <dgm:prSet/>
      <dgm:spPr/>
      <dgm:t>
        <a:bodyPr/>
        <a:lstStyle/>
        <a:p>
          <a:endParaRPr lang="en-US"/>
        </a:p>
      </dgm:t>
    </dgm:pt>
    <dgm:pt modelId="{11B2F720-4DF2-4C70-A420-075C5B4243DD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pPr algn="l"/>
          <a:r>
            <a:rPr lang="en-US" sz="2400" b="1" dirty="0">
              <a:solidFill>
                <a:schemeClr val="accent5">
                  <a:lumMod val="40000"/>
                  <a:lumOff val="60000"/>
                </a:schemeClr>
              </a:solidFill>
            </a:rPr>
            <a:t>2</a:t>
          </a:r>
          <a:r>
            <a:rPr lang="en-US" sz="2000" b="1" dirty="0"/>
            <a:t>  </a:t>
          </a:r>
          <a:r>
            <a:rPr lang="en-US" sz="1800" b="0" dirty="0"/>
            <a:t>Low</a:t>
          </a:r>
        </a:p>
      </dgm:t>
    </dgm:pt>
    <dgm:pt modelId="{D718E725-57B8-40D8-9898-A9B50A6D9E6D}" type="parTrans" cxnId="{FE8E1648-C1B8-40D9-A28D-197C962E577C}">
      <dgm:prSet/>
      <dgm:spPr/>
      <dgm:t>
        <a:bodyPr/>
        <a:lstStyle/>
        <a:p>
          <a:endParaRPr lang="en-US"/>
        </a:p>
      </dgm:t>
    </dgm:pt>
    <dgm:pt modelId="{23BB4853-FE0E-40F9-B19F-06D74017F96C}" type="sibTrans" cxnId="{FE8E1648-C1B8-40D9-A28D-197C962E577C}">
      <dgm:prSet/>
      <dgm:spPr/>
      <dgm:t>
        <a:bodyPr/>
        <a:lstStyle/>
        <a:p>
          <a:endParaRPr lang="en-US"/>
        </a:p>
      </dgm:t>
    </dgm:pt>
    <dgm:pt modelId="{7BC1FC61-D3AF-4772-949B-63FD99E96860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/>
            <a:t>Need not be fixed unless extra time is available on project:</a:t>
          </a:r>
        </a:p>
      </dgm:t>
    </dgm:pt>
    <dgm:pt modelId="{E7D1F353-2255-42BB-811D-1E89741B863F}" type="parTrans" cxnId="{C22AF99D-EE61-463F-821F-3590FB70D375}">
      <dgm:prSet/>
      <dgm:spPr/>
      <dgm:t>
        <a:bodyPr/>
        <a:lstStyle/>
        <a:p>
          <a:endParaRPr lang="en-US"/>
        </a:p>
      </dgm:t>
    </dgm:pt>
    <dgm:pt modelId="{24BD8486-9F8A-4B86-B732-75E756B37481}" type="sibTrans" cxnId="{C22AF99D-EE61-463F-821F-3590FB70D375}">
      <dgm:prSet/>
      <dgm:spPr/>
      <dgm:t>
        <a:bodyPr/>
        <a:lstStyle/>
        <a:p>
          <a:endParaRPr lang="en-US"/>
        </a:p>
      </dgm:t>
    </dgm:pt>
    <dgm:pt modelId="{9D207570-076A-4AB5-BCBF-79616DC893F9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Summary of problems observed in this category</a:t>
          </a:r>
        </a:p>
      </dgm:t>
    </dgm:pt>
    <dgm:pt modelId="{8936C2F1-2352-432D-9942-E64EB4D4DD84}" type="parTrans" cxnId="{F4A59F93-258F-4F42-B062-B8A55CDBDFD6}">
      <dgm:prSet/>
      <dgm:spPr/>
      <dgm:t>
        <a:bodyPr/>
        <a:lstStyle/>
        <a:p>
          <a:endParaRPr lang="en-US"/>
        </a:p>
      </dgm:t>
    </dgm:pt>
    <dgm:pt modelId="{32ACE374-3316-41E9-907B-CF106B1DAC40}" type="sibTrans" cxnId="{F4A59F93-258F-4F42-B062-B8A55CDBDFD6}">
      <dgm:prSet/>
      <dgm:spPr/>
      <dgm:t>
        <a:bodyPr/>
        <a:lstStyle/>
        <a:p>
          <a:endParaRPr lang="en-US"/>
        </a:p>
      </dgm:t>
    </dgm:pt>
    <dgm:pt modelId="{0AFE7B50-F206-4B6E-808C-513DE91E610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Typographical inconsistency and issues</a:t>
          </a:r>
        </a:p>
      </dgm:t>
    </dgm:pt>
    <dgm:pt modelId="{5DF25227-0AB7-4E2C-88E6-676511364FBC}" type="parTrans" cxnId="{DC93F495-62F9-4997-98C9-2D480495CA35}">
      <dgm:prSet/>
      <dgm:spPr/>
      <dgm:t>
        <a:bodyPr/>
        <a:lstStyle/>
        <a:p>
          <a:endParaRPr lang="en-US"/>
        </a:p>
      </dgm:t>
    </dgm:pt>
    <dgm:pt modelId="{6E0DAA65-0B25-4288-B0C9-D25400B71BC4}" type="sibTrans" cxnId="{DC93F495-62F9-4997-98C9-2D480495CA35}">
      <dgm:prSet/>
      <dgm:spPr/>
      <dgm:t>
        <a:bodyPr/>
        <a:lstStyle/>
        <a:p>
          <a:endParaRPr lang="en-US"/>
        </a:p>
      </dgm:t>
    </dgm:pt>
    <dgm:pt modelId="{1429A975-8610-43EA-8453-4E87A5FAC0F3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White spacing </a:t>
          </a:r>
        </a:p>
      </dgm:t>
    </dgm:pt>
    <dgm:pt modelId="{4DCEE61D-C5E2-4ADE-9CA5-9F2F7038B732}" type="parTrans" cxnId="{CB0B361F-AC0D-485B-A96D-928173F69E48}">
      <dgm:prSet/>
      <dgm:spPr/>
      <dgm:t>
        <a:bodyPr/>
        <a:lstStyle/>
        <a:p>
          <a:endParaRPr lang="en-US"/>
        </a:p>
      </dgm:t>
    </dgm:pt>
    <dgm:pt modelId="{73680E12-08C8-4CD4-A3E1-6120BB2745C9}" type="sibTrans" cxnId="{CB0B361F-AC0D-485B-A96D-928173F69E48}">
      <dgm:prSet/>
      <dgm:spPr/>
      <dgm:t>
        <a:bodyPr/>
        <a:lstStyle/>
        <a:p>
          <a:endParaRPr lang="en-US"/>
        </a:p>
      </dgm:t>
    </dgm:pt>
    <dgm:pt modelId="{FF74A962-C2FF-427D-942D-56ADDF4B4702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Additional features for the better user experience</a:t>
          </a:r>
        </a:p>
      </dgm:t>
    </dgm:pt>
    <dgm:pt modelId="{2FE86CFC-5B41-442F-A700-A1B5093C7DCA}" type="parTrans" cxnId="{129304B9-C3FC-45E1-85E4-AB18C96E0AA8}">
      <dgm:prSet/>
      <dgm:spPr/>
      <dgm:t>
        <a:bodyPr/>
        <a:lstStyle/>
        <a:p>
          <a:endParaRPr lang="en-US"/>
        </a:p>
      </dgm:t>
    </dgm:pt>
    <dgm:pt modelId="{2030A443-C83F-4E73-891F-6C69E243694E}" type="sibTrans" cxnId="{129304B9-C3FC-45E1-85E4-AB18C96E0AA8}">
      <dgm:prSet/>
      <dgm:spPr/>
      <dgm:t>
        <a:bodyPr/>
        <a:lstStyle/>
        <a:p>
          <a:endParaRPr lang="en-US"/>
        </a:p>
      </dgm:t>
    </dgm:pt>
    <dgm:pt modelId="{A457BAB5-0451-47C7-8A72-361FDA9454C6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Placements of the objects</a:t>
          </a:r>
        </a:p>
      </dgm:t>
    </dgm:pt>
    <dgm:pt modelId="{883AE157-7ACA-4698-85B5-F5A85B330EA8}" type="parTrans" cxnId="{EB324EB8-668B-4FAA-98F5-739ECEC1BBE4}">
      <dgm:prSet/>
      <dgm:spPr/>
      <dgm:t>
        <a:bodyPr/>
        <a:lstStyle/>
        <a:p>
          <a:endParaRPr lang="en-US"/>
        </a:p>
      </dgm:t>
    </dgm:pt>
    <dgm:pt modelId="{9BBBE1B6-C5F4-48A1-A93B-3A3831B43ECE}" type="sibTrans" cxnId="{EB324EB8-668B-4FAA-98F5-739ECEC1BBE4}">
      <dgm:prSet/>
      <dgm:spPr/>
      <dgm:t>
        <a:bodyPr/>
        <a:lstStyle/>
        <a:p>
          <a:endParaRPr lang="en-US"/>
        </a:p>
      </dgm:t>
    </dgm:pt>
    <dgm:pt modelId="{69DF2769-BF53-4252-A5C5-7D7ECC6B2D8C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Summary of problems observed in this category</a:t>
          </a:r>
        </a:p>
      </dgm:t>
    </dgm:pt>
    <dgm:pt modelId="{F3868125-F83F-4FF5-A65F-87EC315929C8}" type="parTrans" cxnId="{7137F57B-3A9D-43E1-AB8D-2E877885EE26}">
      <dgm:prSet/>
      <dgm:spPr/>
      <dgm:t>
        <a:bodyPr/>
        <a:lstStyle/>
        <a:p>
          <a:endParaRPr lang="en-US"/>
        </a:p>
      </dgm:t>
    </dgm:pt>
    <dgm:pt modelId="{633BF48B-E0C0-4DDE-BF7B-F2B36436AF3B}" type="sibTrans" cxnId="{7137F57B-3A9D-43E1-AB8D-2E877885EE26}">
      <dgm:prSet/>
      <dgm:spPr/>
      <dgm:t>
        <a:bodyPr/>
        <a:lstStyle/>
        <a:p>
          <a:endParaRPr lang="en-US"/>
        </a:p>
      </dgm:t>
    </dgm:pt>
    <dgm:pt modelId="{B4B3B4A1-C696-4CEF-B82F-C9BF44521017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Cosmetics or style related issues</a:t>
          </a:r>
        </a:p>
      </dgm:t>
    </dgm:pt>
    <dgm:pt modelId="{29C281D1-7C3F-4BB5-988D-3AAECC090650}" type="parTrans" cxnId="{47091A33-B844-4F6D-924F-278E0B10164A}">
      <dgm:prSet/>
      <dgm:spPr/>
      <dgm:t>
        <a:bodyPr/>
        <a:lstStyle/>
        <a:p>
          <a:endParaRPr lang="en-US"/>
        </a:p>
      </dgm:t>
    </dgm:pt>
    <dgm:pt modelId="{0D0B853A-3E33-4FDA-845E-F61833F1FAE0}" type="sibTrans" cxnId="{47091A33-B844-4F6D-924F-278E0B10164A}">
      <dgm:prSet/>
      <dgm:spPr/>
      <dgm:t>
        <a:bodyPr/>
        <a:lstStyle/>
        <a:p>
          <a:endParaRPr lang="en-US"/>
        </a:p>
      </dgm:t>
    </dgm:pt>
    <dgm:pt modelId="{03BAE7BA-8416-40AF-92CF-E4170B30BCB5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Paginations </a:t>
          </a:r>
        </a:p>
      </dgm:t>
    </dgm:pt>
    <dgm:pt modelId="{9E895FEA-0A1C-496D-9EA5-60A57572CA40}" type="parTrans" cxnId="{01322308-786D-4FBE-8809-6FB3996CAC40}">
      <dgm:prSet/>
      <dgm:spPr/>
      <dgm:t>
        <a:bodyPr/>
        <a:lstStyle/>
        <a:p>
          <a:endParaRPr lang="en-US"/>
        </a:p>
      </dgm:t>
    </dgm:pt>
    <dgm:pt modelId="{27ADD721-D12E-4EA7-AB1E-34AE3926CD6F}" type="sibTrans" cxnId="{01322308-786D-4FBE-8809-6FB3996CAC40}">
      <dgm:prSet/>
      <dgm:spPr/>
      <dgm:t>
        <a:bodyPr/>
        <a:lstStyle/>
        <a:p>
          <a:endParaRPr lang="en-US"/>
        </a:p>
      </dgm:t>
    </dgm:pt>
    <dgm:pt modelId="{3CAE9F18-8770-4B4F-9C45-A713E96706B5}">
      <dgm:prSet custT="1"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US" sz="1400" dirty="0"/>
            <a:t>Vertical scroll bars</a:t>
          </a:r>
        </a:p>
      </dgm:t>
    </dgm:pt>
    <dgm:pt modelId="{E279DE0E-54A4-4E13-8143-DEBAA6BD34E2}" type="parTrans" cxnId="{53B87168-5190-48B7-8B06-5E5DE7318842}">
      <dgm:prSet/>
      <dgm:spPr/>
      <dgm:t>
        <a:bodyPr/>
        <a:lstStyle/>
        <a:p>
          <a:endParaRPr lang="en-US"/>
        </a:p>
      </dgm:t>
    </dgm:pt>
    <dgm:pt modelId="{117E2F25-D51A-4CE4-9C1C-8BBBD2C752D4}" type="sibTrans" cxnId="{53B87168-5190-48B7-8B06-5E5DE7318842}">
      <dgm:prSet/>
      <dgm:spPr/>
      <dgm:t>
        <a:bodyPr/>
        <a:lstStyle/>
        <a:p>
          <a:endParaRPr lang="en-US"/>
        </a:p>
      </dgm:t>
    </dgm:pt>
    <dgm:pt modelId="{69F1F624-A7AA-4942-BD36-3A17D06219E5}">
      <dgm:prSet custT="1"/>
      <dgm:spPr/>
      <dgm:t>
        <a:bodyPr/>
        <a:lstStyle/>
        <a:p>
          <a:r>
            <a:rPr lang="en-US" sz="1400" dirty="0"/>
            <a:t>Summary of problems observed in this category</a:t>
          </a:r>
        </a:p>
      </dgm:t>
    </dgm:pt>
    <dgm:pt modelId="{80A80469-DC7E-40CA-A7BF-2D4172FF2DC9}" type="parTrans" cxnId="{5C028CB3-13B8-4C9D-9293-7CD533ABC1D7}">
      <dgm:prSet/>
      <dgm:spPr/>
      <dgm:t>
        <a:bodyPr/>
        <a:lstStyle/>
        <a:p>
          <a:endParaRPr lang="en-US"/>
        </a:p>
      </dgm:t>
    </dgm:pt>
    <dgm:pt modelId="{A0C98FA9-DE1B-4C66-9EF7-301F7C5BD689}" type="sibTrans" cxnId="{5C028CB3-13B8-4C9D-9293-7CD533ABC1D7}">
      <dgm:prSet/>
      <dgm:spPr/>
      <dgm:t>
        <a:bodyPr/>
        <a:lstStyle/>
        <a:p>
          <a:endParaRPr lang="en-US"/>
        </a:p>
      </dgm:t>
    </dgm:pt>
    <dgm:pt modelId="{1FF954EA-26AF-423F-8669-B980E89CA8A8}">
      <dgm:prSet custT="1"/>
      <dgm:spPr/>
      <dgm:t>
        <a:bodyPr/>
        <a:lstStyle/>
        <a:p>
          <a:r>
            <a:rPr lang="en-US" sz="1400" dirty="0"/>
            <a:t>Primarily the consistency issues</a:t>
          </a:r>
        </a:p>
      </dgm:t>
    </dgm:pt>
    <dgm:pt modelId="{93C4D702-C7AB-4A9A-950C-730721094639}" type="parTrans" cxnId="{13E69BF3-73CF-494A-813C-E8AB17A4E223}">
      <dgm:prSet/>
      <dgm:spPr/>
      <dgm:t>
        <a:bodyPr/>
        <a:lstStyle/>
        <a:p>
          <a:endParaRPr lang="en-US"/>
        </a:p>
      </dgm:t>
    </dgm:pt>
    <dgm:pt modelId="{AA0F6CF5-E2C8-4ABF-8F27-FE51ED43F834}" type="sibTrans" cxnId="{13E69BF3-73CF-494A-813C-E8AB17A4E223}">
      <dgm:prSet/>
      <dgm:spPr/>
      <dgm:t>
        <a:bodyPr/>
        <a:lstStyle/>
        <a:p>
          <a:endParaRPr lang="en-US"/>
        </a:p>
      </dgm:t>
    </dgm:pt>
    <dgm:pt modelId="{C2946211-A62E-4107-AF3F-A4B7CE819F4C}">
      <dgm:prSet custT="1"/>
      <dgm:spPr/>
      <dgm:t>
        <a:bodyPr/>
        <a:lstStyle/>
        <a:p>
          <a:r>
            <a:rPr lang="en-US" sz="1400" dirty="0"/>
            <a:t>Variation in the layouts for the same or similar features</a:t>
          </a:r>
        </a:p>
      </dgm:t>
    </dgm:pt>
    <dgm:pt modelId="{67B800F5-9679-4AEC-B5CD-2FC594DBA9CB}" type="parTrans" cxnId="{E2B5D3B7-801A-4016-8137-F9C66DE99365}">
      <dgm:prSet/>
      <dgm:spPr/>
      <dgm:t>
        <a:bodyPr/>
        <a:lstStyle/>
        <a:p>
          <a:endParaRPr lang="en-US"/>
        </a:p>
      </dgm:t>
    </dgm:pt>
    <dgm:pt modelId="{43169D64-4924-4BF0-8888-1052AE8D0AD2}" type="sibTrans" cxnId="{E2B5D3B7-801A-4016-8137-F9C66DE99365}">
      <dgm:prSet/>
      <dgm:spPr/>
      <dgm:t>
        <a:bodyPr/>
        <a:lstStyle/>
        <a:p>
          <a:endParaRPr lang="en-US"/>
        </a:p>
      </dgm:t>
    </dgm:pt>
    <dgm:pt modelId="{6F46E18E-0063-4BEA-8DA7-85D01318562C}">
      <dgm:prSet custT="1"/>
      <dgm:spPr/>
      <dgm:t>
        <a:bodyPr/>
        <a:lstStyle/>
        <a:p>
          <a:r>
            <a:rPr lang="en-US" sz="1400" dirty="0"/>
            <a:t>Navigation/Menu &amp; actions related issues</a:t>
          </a:r>
        </a:p>
      </dgm:t>
    </dgm:pt>
    <dgm:pt modelId="{0AC01AEC-515B-4449-BB60-A328E899ABF5}" type="parTrans" cxnId="{3DBBCB80-1112-49AA-9B0B-761CF45332E8}">
      <dgm:prSet/>
      <dgm:spPr/>
      <dgm:t>
        <a:bodyPr/>
        <a:lstStyle/>
        <a:p>
          <a:endParaRPr lang="en-US"/>
        </a:p>
      </dgm:t>
    </dgm:pt>
    <dgm:pt modelId="{BDAA8CE3-ABED-456A-B675-9E4EEEEB6745}" type="sibTrans" cxnId="{3DBBCB80-1112-49AA-9B0B-761CF45332E8}">
      <dgm:prSet/>
      <dgm:spPr/>
      <dgm:t>
        <a:bodyPr/>
        <a:lstStyle/>
        <a:p>
          <a:endParaRPr lang="en-US"/>
        </a:p>
      </dgm:t>
    </dgm:pt>
    <dgm:pt modelId="{31C92C3B-A45F-4C6F-904D-C66EF1530C7A}">
      <dgm:prSet custT="1"/>
      <dgm:spPr/>
      <dgm:t>
        <a:bodyPr/>
        <a:lstStyle/>
        <a:p>
          <a:r>
            <a:rPr lang="en-US" sz="1400" dirty="0"/>
            <a:t>Horizontal scrolling which are not part of the design</a:t>
          </a:r>
        </a:p>
      </dgm:t>
    </dgm:pt>
    <dgm:pt modelId="{2EF93D1B-A943-46B0-B01E-F657A7727975}" type="parTrans" cxnId="{376CD6D9-5786-4E96-BD53-F2495CE2A2B0}">
      <dgm:prSet/>
      <dgm:spPr/>
      <dgm:t>
        <a:bodyPr/>
        <a:lstStyle/>
        <a:p>
          <a:endParaRPr lang="en-US"/>
        </a:p>
      </dgm:t>
    </dgm:pt>
    <dgm:pt modelId="{924A3997-92CE-42DE-B2B2-7E7FF780C1F4}" type="sibTrans" cxnId="{376CD6D9-5786-4E96-BD53-F2495CE2A2B0}">
      <dgm:prSet/>
      <dgm:spPr/>
      <dgm:t>
        <a:bodyPr/>
        <a:lstStyle/>
        <a:p>
          <a:endParaRPr lang="en-US"/>
        </a:p>
      </dgm:t>
    </dgm:pt>
    <dgm:pt modelId="{902AD290-83A9-4B35-96FA-51977A828DC5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None/>
          </a:pPr>
          <a:endParaRPr lang="en-US" sz="1400" dirty="0"/>
        </a:p>
      </dgm:t>
    </dgm:pt>
    <dgm:pt modelId="{A75661C4-47B8-4C2D-9979-A107FD4FCFB7}" type="parTrans" cxnId="{A307FD2F-CD6E-423D-B6EB-B58BDDB52EA5}">
      <dgm:prSet/>
      <dgm:spPr/>
      <dgm:t>
        <a:bodyPr/>
        <a:lstStyle/>
        <a:p>
          <a:endParaRPr lang="en-US"/>
        </a:p>
      </dgm:t>
    </dgm:pt>
    <dgm:pt modelId="{3EE83BF5-A211-487B-B478-D593426DAEC2}" type="sibTrans" cxnId="{A307FD2F-CD6E-423D-B6EB-B58BDDB52EA5}">
      <dgm:prSet/>
      <dgm:spPr/>
      <dgm:t>
        <a:bodyPr/>
        <a:lstStyle/>
        <a:p>
          <a:endParaRPr lang="en-US"/>
        </a:p>
      </dgm:t>
    </dgm:pt>
    <dgm:pt modelId="{491626F8-D5A2-4842-B2A3-E72418762893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endParaRPr lang="en-US" sz="1400" dirty="0"/>
        </a:p>
      </dgm:t>
    </dgm:pt>
    <dgm:pt modelId="{05BF59B9-5A99-47D5-B986-9A91C59F69E9}" type="parTrans" cxnId="{EBCE751E-358D-409E-8D21-D45D058E4CBC}">
      <dgm:prSet/>
      <dgm:spPr/>
      <dgm:t>
        <a:bodyPr/>
        <a:lstStyle/>
        <a:p>
          <a:endParaRPr lang="en-US"/>
        </a:p>
      </dgm:t>
    </dgm:pt>
    <dgm:pt modelId="{AFA4282F-D8E6-474C-B2F9-825827E96703}" type="sibTrans" cxnId="{EBCE751E-358D-409E-8D21-D45D058E4CBC}">
      <dgm:prSet/>
      <dgm:spPr/>
      <dgm:t>
        <a:bodyPr/>
        <a:lstStyle/>
        <a:p>
          <a:endParaRPr lang="en-US"/>
        </a:p>
      </dgm:t>
    </dgm:pt>
    <dgm:pt modelId="{29617E40-8D97-48A3-B7A1-F6AFDCD10C65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>
            <a:buNone/>
          </a:pPr>
          <a:endParaRPr lang="en-US" sz="1400" dirty="0"/>
        </a:p>
      </dgm:t>
    </dgm:pt>
    <dgm:pt modelId="{6E378F20-382C-4F8C-8E5B-D6C5C38D0089}" type="sibTrans" cxnId="{F9359EF5-F25B-441B-A4A7-2A6EE734F988}">
      <dgm:prSet/>
      <dgm:spPr/>
      <dgm:t>
        <a:bodyPr/>
        <a:lstStyle/>
        <a:p>
          <a:endParaRPr lang="en-US"/>
        </a:p>
      </dgm:t>
    </dgm:pt>
    <dgm:pt modelId="{5D957EF4-173D-4037-960F-50B087AD4683}" type="parTrans" cxnId="{F9359EF5-F25B-441B-A4A7-2A6EE734F988}">
      <dgm:prSet/>
      <dgm:spPr/>
      <dgm:t>
        <a:bodyPr/>
        <a:lstStyle/>
        <a:p>
          <a:endParaRPr lang="en-US"/>
        </a:p>
      </dgm:t>
    </dgm:pt>
    <dgm:pt modelId="{5C51C460-E8D1-4DD0-AE29-F50FA79E154A}" type="pres">
      <dgm:prSet presAssocID="{1E0F615C-3982-45B6-A15E-05F5EAA7F739}" presName="Name0" presStyleCnt="0">
        <dgm:presLayoutVars>
          <dgm:dir/>
          <dgm:animLvl val="lvl"/>
          <dgm:resizeHandles val="exact"/>
        </dgm:presLayoutVars>
      </dgm:prSet>
      <dgm:spPr/>
    </dgm:pt>
    <dgm:pt modelId="{7DBCB46A-C034-472E-8790-84D2D76456A5}" type="pres">
      <dgm:prSet presAssocID="{F6AA1BFD-6C1D-489A-A78E-F5BC0D291D9A}" presName="composite" presStyleCnt="0"/>
      <dgm:spPr/>
    </dgm:pt>
    <dgm:pt modelId="{D4169FB7-9013-4027-9682-5B08F6AC0ECA}" type="pres">
      <dgm:prSet presAssocID="{F6AA1BFD-6C1D-489A-A78E-F5BC0D291D9A}" presName="parTx" presStyleLbl="alignNode1" presStyleIdx="0" presStyleCnt="3" custScaleY="100000">
        <dgm:presLayoutVars>
          <dgm:chMax val="0"/>
          <dgm:chPref val="0"/>
          <dgm:bulletEnabled val="1"/>
        </dgm:presLayoutVars>
      </dgm:prSet>
      <dgm:spPr/>
    </dgm:pt>
    <dgm:pt modelId="{CFA77396-3F52-43CA-9013-D420E27F0D62}" type="pres">
      <dgm:prSet presAssocID="{F6AA1BFD-6C1D-489A-A78E-F5BC0D291D9A}" presName="desTx" presStyleLbl="alignAccFollowNode1" presStyleIdx="0" presStyleCnt="3">
        <dgm:presLayoutVars>
          <dgm:bulletEnabled val="1"/>
        </dgm:presLayoutVars>
      </dgm:prSet>
      <dgm:spPr/>
    </dgm:pt>
    <dgm:pt modelId="{DC482C7B-4F87-4C0B-B84F-FC67C4952AF5}" type="pres">
      <dgm:prSet presAssocID="{8641B4CE-B63A-47D8-94EA-405B8EDACD6D}" presName="space" presStyleCnt="0"/>
      <dgm:spPr/>
    </dgm:pt>
    <dgm:pt modelId="{39D707A1-77E0-4CB9-B24A-8E86D00B040D}" type="pres">
      <dgm:prSet presAssocID="{5E9378D2-9341-4915-8DAA-F5752FEDEDD8}" presName="composite" presStyleCnt="0"/>
      <dgm:spPr/>
    </dgm:pt>
    <dgm:pt modelId="{2D59C051-C981-45B7-B61C-30215FFE7298}" type="pres">
      <dgm:prSet presAssocID="{5E9378D2-9341-4915-8DAA-F5752FEDEDD8}" presName="parTx" presStyleLbl="alignNode1" presStyleIdx="1" presStyleCnt="3" custScaleY="100000">
        <dgm:presLayoutVars>
          <dgm:chMax val="0"/>
          <dgm:chPref val="0"/>
          <dgm:bulletEnabled val="1"/>
        </dgm:presLayoutVars>
      </dgm:prSet>
      <dgm:spPr/>
    </dgm:pt>
    <dgm:pt modelId="{39C0F337-E094-4ADD-90B4-52B0BC8007BF}" type="pres">
      <dgm:prSet presAssocID="{5E9378D2-9341-4915-8DAA-F5752FEDEDD8}" presName="desTx" presStyleLbl="alignAccFollowNode1" presStyleIdx="1" presStyleCnt="3">
        <dgm:presLayoutVars>
          <dgm:bulletEnabled val="1"/>
        </dgm:presLayoutVars>
      </dgm:prSet>
      <dgm:spPr/>
    </dgm:pt>
    <dgm:pt modelId="{B8917C33-AAA7-4E17-B0FA-E3E0215AD448}" type="pres">
      <dgm:prSet presAssocID="{E02A07FF-8A71-4AE5-AA90-F0FC337118EB}" presName="space" presStyleCnt="0"/>
      <dgm:spPr/>
    </dgm:pt>
    <dgm:pt modelId="{4CB61814-2491-4A46-8D6E-A34B5C17AB7D}" type="pres">
      <dgm:prSet presAssocID="{11B2F720-4DF2-4C70-A420-075C5B4243DD}" presName="composite" presStyleCnt="0"/>
      <dgm:spPr/>
    </dgm:pt>
    <dgm:pt modelId="{761E4CB3-E528-4667-A389-4E62D1133467}" type="pres">
      <dgm:prSet presAssocID="{11B2F720-4DF2-4C70-A420-075C5B4243DD}" presName="parTx" presStyleLbl="alignNode1" presStyleIdx="2" presStyleCnt="3" custScaleY="100000">
        <dgm:presLayoutVars>
          <dgm:chMax val="0"/>
          <dgm:chPref val="0"/>
          <dgm:bulletEnabled val="1"/>
        </dgm:presLayoutVars>
      </dgm:prSet>
      <dgm:spPr/>
    </dgm:pt>
    <dgm:pt modelId="{0011B4CE-FB03-45C9-BFC0-4EE58DC694F8}" type="pres">
      <dgm:prSet presAssocID="{11B2F720-4DF2-4C70-A420-075C5B4243DD}" presName="desTx" presStyleLbl="alignAccFollowNode1" presStyleIdx="2" presStyleCnt="3" custLinFactNeighborX="103" custLinFactNeighborY="729">
        <dgm:presLayoutVars>
          <dgm:bulletEnabled val="1"/>
        </dgm:presLayoutVars>
      </dgm:prSet>
      <dgm:spPr/>
    </dgm:pt>
  </dgm:ptLst>
  <dgm:cxnLst>
    <dgm:cxn modelId="{7A02E700-41F5-4CDC-9545-7B2F948F88B6}" type="presOf" srcId="{9D207570-076A-4AB5-BCBF-79616DC893F9}" destId="{39C0F337-E094-4ADD-90B4-52B0BC8007BF}" srcOrd="0" destOrd="2" presId="urn:microsoft.com/office/officeart/2005/8/layout/hList1"/>
    <dgm:cxn modelId="{5B32B007-9077-4353-8B2A-BFA3FF53DD13}" type="presOf" srcId="{03BAE7BA-8416-40AF-92CF-E4170B30BCB5}" destId="{0011B4CE-FB03-45C9-BFC0-4EE58DC694F8}" srcOrd="0" destOrd="4" presId="urn:microsoft.com/office/officeart/2005/8/layout/hList1"/>
    <dgm:cxn modelId="{01322308-786D-4FBE-8809-6FB3996CAC40}" srcId="{11B2F720-4DF2-4C70-A420-075C5B4243DD}" destId="{03BAE7BA-8416-40AF-92CF-E4170B30BCB5}" srcOrd="4" destOrd="0" parTransId="{9E895FEA-0A1C-496D-9EA5-60A57572CA40}" sibTransId="{27ADD721-D12E-4EA7-AB1E-34AE3926CD6F}"/>
    <dgm:cxn modelId="{944A290D-3A13-4FB5-A94A-3EFDFF9A262B}" type="presOf" srcId="{7BC1FC61-D3AF-4772-949B-63FD99E96860}" destId="{0011B4CE-FB03-45C9-BFC0-4EE58DC694F8}" srcOrd="0" destOrd="0" presId="urn:microsoft.com/office/officeart/2005/8/layout/hList1"/>
    <dgm:cxn modelId="{8966F014-51CF-4887-9816-A9E0F4176F86}" srcId="{5E9378D2-9341-4915-8DAA-F5752FEDEDD8}" destId="{32045831-9FFF-4D16-B40A-29604850C15C}" srcOrd="0" destOrd="0" parTransId="{9CAC3019-CBD2-4289-87B9-5F86A630446E}" sibTransId="{AD5548B5-300B-483C-8A6D-10025A05341C}"/>
    <dgm:cxn modelId="{EBCE751E-358D-409E-8D21-D45D058E4CBC}" srcId="{5E9378D2-9341-4915-8DAA-F5752FEDEDD8}" destId="{491626F8-D5A2-4842-B2A3-E72418762893}" srcOrd="1" destOrd="0" parTransId="{05BF59B9-5A99-47D5-B986-9A91C59F69E9}" sibTransId="{AFA4282F-D8E6-474C-B2F9-825827E96703}"/>
    <dgm:cxn modelId="{CB0B361F-AC0D-485B-A96D-928173F69E48}" srcId="{5E9378D2-9341-4915-8DAA-F5752FEDEDD8}" destId="{1429A975-8610-43EA-8453-4E87A5FAC0F3}" srcOrd="4" destOrd="0" parTransId="{4DCEE61D-C5E2-4ADE-9CA5-9F2F7038B732}" sibTransId="{73680E12-08C8-4CD4-A3E1-6120BB2745C9}"/>
    <dgm:cxn modelId="{C2C54F22-163F-4351-8340-5A43B8E11D9E}" type="presOf" srcId="{32045831-9FFF-4D16-B40A-29604850C15C}" destId="{39C0F337-E094-4ADD-90B4-52B0BC8007BF}" srcOrd="0" destOrd="0" presId="urn:microsoft.com/office/officeart/2005/8/layout/hList1"/>
    <dgm:cxn modelId="{A307FD2F-CD6E-423D-B6EB-B58BDDB52EA5}" srcId="{11B2F720-4DF2-4C70-A420-075C5B4243DD}" destId="{902AD290-83A9-4B35-96FA-51977A828DC5}" srcOrd="1" destOrd="0" parTransId="{A75661C4-47B8-4C2D-9979-A107FD4FCFB7}" sibTransId="{3EE83BF5-A211-487B-B478-D593426DAEC2}"/>
    <dgm:cxn modelId="{7E052730-9E2C-44D1-9866-22EBEEDF1320}" type="presOf" srcId="{C2946211-A62E-4107-AF3F-A4B7CE819F4C}" destId="{CFA77396-3F52-43CA-9013-D420E27F0D62}" srcOrd="0" destOrd="4" presId="urn:microsoft.com/office/officeart/2005/8/layout/hList1"/>
    <dgm:cxn modelId="{47091A33-B844-4F6D-924F-278E0B10164A}" srcId="{11B2F720-4DF2-4C70-A420-075C5B4243DD}" destId="{B4B3B4A1-C696-4CEF-B82F-C9BF44521017}" srcOrd="3" destOrd="0" parTransId="{29C281D1-7C3F-4BB5-988D-3AAECC090650}" sibTransId="{0D0B853A-3E33-4FDA-845E-F61833F1FAE0}"/>
    <dgm:cxn modelId="{2F420035-D4CB-4A20-8318-76B8CF5E5875}" type="presOf" srcId="{29617E40-8D97-48A3-B7A1-F6AFDCD10C65}" destId="{CFA77396-3F52-43CA-9013-D420E27F0D62}" srcOrd="0" destOrd="1" presId="urn:microsoft.com/office/officeart/2005/8/layout/hList1"/>
    <dgm:cxn modelId="{E215B73E-DF43-4184-A5B2-B518C9D3A5B4}" type="presOf" srcId="{1429A975-8610-43EA-8453-4E87A5FAC0F3}" destId="{39C0F337-E094-4ADD-90B4-52B0BC8007BF}" srcOrd="0" destOrd="4" presId="urn:microsoft.com/office/officeart/2005/8/layout/hList1"/>
    <dgm:cxn modelId="{13002164-3331-45B2-AA52-9BD4241A5D3C}" type="presOf" srcId="{902AD290-83A9-4B35-96FA-51977A828DC5}" destId="{0011B4CE-FB03-45C9-BFC0-4EE58DC694F8}" srcOrd="0" destOrd="1" presId="urn:microsoft.com/office/officeart/2005/8/layout/hList1"/>
    <dgm:cxn modelId="{F6A86D64-DA0C-4582-9248-3B704AF24B80}" type="presOf" srcId="{A457BAB5-0451-47C7-8A72-361FDA9454C6}" destId="{39C0F337-E094-4ADD-90B4-52B0BC8007BF}" srcOrd="0" destOrd="6" presId="urn:microsoft.com/office/officeart/2005/8/layout/hList1"/>
    <dgm:cxn modelId="{BED4F064-9017-4CA2-A734-F36657FC16CD}" srcId="{1E0F615C-3982-45B6-A15E-05F5EAA7F739}" destId="{F6AA1BFD-6C1D-489A-A78E-F5BC0D291D9A}" srcOrd="0" destOrd="0" parTransId="{D2E6F66D-DC74-4785-B173-DAD4315D7E30}" sibTransId="{8641B4CE-B63A-47D8-94EA-405B8EDACD6D}"/>
    <dgm:cxn modelId="{FE8E1648-C1B8-40D9-A28D-197C962E577C}" srcId="{1E0F615C-3982-45B6-A15E-05F5EAA7F739}" destId="{11B2F720-4DF2-4C70-A420-075C5B4243DD}" srcOrd="2" destOrd="0" parTransId="{D718E725-57B8-40D8-9898-A9B50A6D9E6D}" sibTransId="{23BB4853-FE0E-40F9-B19F-06D74017F96C}"/>
    <dgm:cxn modelId="{53B87168-5190-48B7-8B06-5E5DE7318842}" srcId="{11B2F720-4DF2-4C70-A420-075C5B4243DD}" destId="{3CAE9F18-8770-4B4F-9C45-A713E96706B5}" srcOrd="5" destOrd="0" parTransId="{E279DE0E-54A4-4E13-8143-DEBAA6BD34E2}" sibTransId="{117E2F25-D51A-4CE4-9C1C-8BBBD2C752D4}"/>
    <dgm:cxn modelId="{6E54C06F-F6D7-4F96-BCCF-398254C7BFC1}" type="presOf" srcId="{31C92C3B-A45F-4C6F-904D-C66EF1530C7A}" destId="{CFA77396-3F52-43CA-9013-D420E27F0D62}" srcOrd="0" destOrd="6" presId="urn:microsoft.com/office/officeart/2005/8/layout/hList1"/>
    <dgm:cxn modelId="{8795A172-B5A8-40EE-A86F-B079D1AE1558}" srcId="{F6AA1BFD-6C1D-489A-A78E-F5BC0D291D9A}" destId="{AAAFCB7B-F7B6-49F5-AB73-8D72FEA65DEA}" srcOrd="0" destOrd="0" parTransId="{F5AE5A2B-0D61-4594-99DB-5CAC03344B16}" sibTransId="{121DE8C6-018C-4DE8-90BB-4F11F88E71A8}"/>
    <dgm:cxn modelId="{E2D12479-C3D4-4B39-B899-67761061CB0F}" type="presOf" srcId="{FF74A962-C2FF-427D-942D-56ADDF4B4702}" destId="{39C0F337-E094-4ADD-90B4-52B0BC8007BF}" srcOrd="0" destOrd="5" presId="urn:microsoft.com/office/officeart/2005/8/layout/hList1"/>
    <dgm:cxn modelId="{7137F57B-3A9D-43E1-AB8D-2E877885EE26}" srcId="{11B2F720-4DF2-4C70-A420-075C5B4243DD}" destId="{69DF2769-BF53-4252-A5C5-7D7ECC6B2D8C}" srcOrd="2" destOrd="0" parTransId="{F3868125-F83F-4FF5-A65F-87EC315929C8}" sibTransId="{633BF48B-E0C0-4DDE-BF7B-F2B36436AF3B}"/>
    <dgm:cxn modelId="{3DBBCB80-1112-49AA-9B0B-761CF45332E8}" srcId="{F6AA1BFD-6C1D-489A-A78E-F5BC0D291D9A}" destId="{6F46E18E-0063-4BEA-8DA7-85D01318562C}" srcOrd="5" destOrd="0" parTransId="{0AC01AEC-515B-4449-BB60-A328E899ABF5}" sibTransId="{BDAA8CE3-ABED-456A-B675-9E4EEEEB6745}"/>
    <dgm:cxn modelId="{3A090385-F95B-47F6-9C9A-B368F0E41660}" type="presOf" srcId="{3CAE9F18-8770-4B4F-9C45-A713E96706B5}" destId="{0011B4CE-FB03-45C9-BFC0-4EE58DC694F8}" srcOrd="0" destOrd="5" presId="urn:microsoft.com/office/officeart/2005/8/layout/hList1"/>
    <dgm:cxn modelId="{342B868A-49EA-4382-9810-79E8BD275140}" type="presOf" srcId="{69DF2769-BF53-4252-A5C5-7D7ECC6B2D8C}" destId="{0011B4CE-FB03-45C9-BFC0-4EE58DC694F8}" srcOrd="0" destOrd="2" presId="urn:microsoft.com/office/officeart/2005/8/layout/hList1"/>
    <dgm:cxn modelId="{F4A59F93-258F-4F42-B062-B8A55CDBDFD6}" srcId="{5E9378D2-9341-4915-8DAA-F5752FEDEDD8}" destId="{9D207570-076A-4AB5-BCBF-79616DC893F9}" srcOrd="2" destOrd="0" parTransId="{8936C2F1-2352-432D-9942-E64EB4D4DD84}" sibTransId="{32ACE374-3316-41E9-907B-CF106B1DAC40}"/>
    <dgm:cxn modelId="{DC93F495-62F9-4997-98C9-2D480495CA35}" srcId="{5E9378D2-9341-4915-8DAA-F5752FEDEDD8}" destId="{0AFE7B50-F206-4B6E-808C-513DE91E6106}" srcOrd="3" destOrd="0" parTransId="{5DF25227-0AB7-4E2C-88E6-676511364FBC}" sibTransId="{6E0DAA65-0B25-4288-B0C9-D25400B71BC4}"/>
    <dgm:cxn modelId="{BB06E097-15B5-422A-AD65-6932D5ACAC81}" type="presOf" srcId="{1FF954EA-26AF-423F-8669-B980E89CA8A8}" destId="{CFA77396-3F52-43CA-9013-D420E27F0D62}" srcOrd="0" destOrd="3" presId="urn:microsoft.com/office/officeart/2005/8/layout/hList1"/>
    <dgm:cxn modelId="{69945099-D3F6-4802-B333-35E1030AA933}" type="presOf" srcId="{491626F8-D5A2-4842-B2A3-E72418762893}" destId="{39C0F337-E094-4ADD-90B4-52B0BC8007BF}" srcOrd="0" destOrd="1" presId="urn:microsoft.com/office/officeart/2005/8/layout/hList1"/>
    <dgm:cxn modelId="{7A29C59B-2856-45C8-9AEF-23B966F534BF}" type="presOf" srcId="{B4B3B4A1-C696-4CEF-B82F-C9BF44521017}" destId="{0011B4CE-FB03-45C9-BFC0-4EE58DC694F8}" srcOrd="0" destOrd="3" presId="urn:microsoft.com/office/officeart/2005/8/layout/hList1"/>
    <dgm:cxn modelId="{C22AF99D-EE61-463F-821F-3590FB70D375}" srcId="{11B2F720-4DF2-4C70-A420-075C5B4243DD}" destId="{7BC1FC61-D3AF-4772-949B-63FD99E96860}" srcOrd="0" destOrd="0" parTransId="{E7D1F353-2255-42BB-811D-1E89741B863F}" sibTransId="{24BD8486-9F8A-4B86-B732-75E756B37481}"/>
    <dgm:cxn modelId="{7DD3849F-EB9C-4B66-B27F-9BE6FBFB5191}" type="presOf" srcId="{1E0F615C-3982-45B6-A15E-05F5EAA7F739}" destId="{5C51C460-E8D1-4DD0-AE29-F50FA79E154A}" srcOrd="0" destOrd="0" presId="urn:microsoft.com/office/officeart/2005/8/layout/hList1"/>
    <dgm:cxn modelId="{81A554A1-0FCD-486E-B86D-115D8BF3863A}" type="presOf" srcId="{F6AA1BFD-6C1D-489A-A78E-F5BC0D291D9A}" destId="{D4169FB7-9013-4027-9682-5B08F6AC0ECA}" srcOrd="0" destOrd="0" presId="urn:microsoft.com/office/officeart/2005/8/layout/hList1"/>
    <dgm:cxn modelId="{499681B1-BC97-4116-963E-5B7320197FD6}" srcId="{1E0F615C-3982-45B6-A15E-05F5EAA7F739}" destId="{5E9378D2-9341-4915-8DAA-F5752FEDEDD8}" srcOrd="1" destOrd="0" parTransId="{31F44A63-520C-4F19-8128-85238BD82C4D}" sibTransId="{E02A07FF-8A71-4AE5-AA90-F0FC337118EB}"/>
    <dgm:cxn modelId="{5C028CB3-13B8-4C9D-9293-7CD533ABC1D7}" srcId="{F6AA1BFD-6C1D-489A-A78E-F5BC0D291D9A}" destId="{69F1F624-A7AA-4942-BD36-3A17D06219E5}" srcOrd="2" destOrd="0" parTransId="{80A80469-DC7E-40CA-A7BF-2D4172FF2DC9}" sibTransId="{A0C98FA9-DE1B-4C66-9EF7-301F7C5BD689}"/>
    <dgm:cxn modelId="{E2B5D3B7-801A-4016-8137-F9C66DE99365}" srcId="{F6AA1BFD-6C1D-489A-A78E-F5BC0D291D9A}" destId="{C2946211-A62E-4107-AF3F-A4B7CE819F4C}" srcOrd="4" destOrd="0" parTransId="{67B800F5-9679-4AEC-B5CD-2FC594DBA9CB}" sibTransId="{43169D64-4924-4BF0-8888-1052AE8D0AD2}"/>
    <dgm:cxn modelId="{EB324EB8-668B-4FAA-98F5-739ECEC1BBE4}" srcId="{5E9378D2-9341-4915-8DAA-F5752FEDEDD8}" destId="{A457BAB5-0451-47C7-8A72-361FDA9454C6}" srcOrd="6" destOrd="0" parTransId="{883AE157-7ACA-4698-85B5-F5A85B330EA8}" sibTransId="{9BBBE1B6-C5F4-48A1-A93B-3A3831B43ECE}"/>
    <dgm:cxn modelId="{129304B9-C3FC-45E1-85E4-AB18C96E0AA8}" srcId="{5E9378D2-9341-4915-8DAA-F5752FEDEDD8}" destId="{FF74A962-C2FF-427D-942D-56ADDF4B4702}" srcOrd="5" destOrd="0" parTransId="{2FE86CFC-5B41-442F-A700-A1B5093C7DCA}" sibTransId="{2030A443-C83F-4E73-891F-6C69E243694E}"/>
    <dgm:cxn modelId="{C9D231BA-76C5-4E95-93EF-21A719736360}" type="presOf" srcId="{11B2F720-4DF2-4C70-A420-075C5B4243DD}" destId="{761E4CB3-E528-4667-A389-4E62D1133467}" srcOrd="0" destOrd="0" presId="urn:microsoft.com/office/officeart/2005/8/layout/hList1"/>
    <dgm:cxn modelId="{F227B8D3-3B8A-44DB-A37C-E51DB213A27A}" type="presOf" srcId="{5E9378D2-9341-4915-8DAA-F5752FEDEDD8}" destId="{2D59C051-C981-45B7-B61C-30215FFE7298}" srcOrd="0" destOrd="0" presId="urn:microsoft.com/office/officeart/2005/8/layout/hList1"/>
    <dgm:cxn modelId="{376CD6D9-5786-4E96-BD53-F2495CE2A2B0}" srcId="{F6AA1BFD-6C1D-489A-A78E-F5BC0D291D9A}" destId="{31C92C3B-A45F-4C6F-904D-C66EF1530C7A}" srcOrd="6" destOrd="0" parTransId="{2EF93D1B-A943-46B0-B01E-F657A7727975}" sibTransId="{924A3997-92CE-42DE-B2B2-7E7FF780C1F4}"/>
    <dgm:cxn modelId="{ECC439DF-7A8A-43B1-B25C-B9A68BB5EB00}" type="presOf" srcId="{0AFE7B50-F206-4B6E-808C-513DE91E6106}" destId="{39C0F337-E094-4ADD-90B4-52B0BC8007BF}" srcOrd="0" destOrd="3" presId="urn:microsoft.com/office/officeart/2005/8/layout/hList1"/>
    <dgm:cxn modelId="{A20A3AE4-FF25-4043-B468-41273FCF7B6B}" type="presOf" srcId="{AAAFCB7B-F7B6-49F5-AB73-8D72FEA65DEA}" destId="{CFA77396-3F52-43CA-9013-D420E27F0D62}" srcOrd="0" destOrd="0" presId="urn:microsoft.com/office/officeart/2005/8/layout/hList1"/>
    <dgm:cxn modelId="{6A1D66E9-AD2A-44BB-93B0-CC09F3DAD036}" type="presOf" srcId="{69F1F624-A7AA-4942-BD36-3A17D06219E5}" destId="{CFA77396-3F52-43CA-9013-D420E27F0D62}" srcOrd="0" destOrd="2" presId="urn:microsoft.com/office/officeart/2005/8/layout/hList1"/>
    <dgm:cxn modelId="{CEF77EE9-8AC0-4B1C-960F-A67401872CC5}" type="presOf" srcId="{6F46E18E-0063-4BEA-8DA7-85D01318562C}" destId="{CFA77396-3F52-43CA-9013-D420E27F0D62}" srcOrd="0" destOrd="5" presId="urn:microsoft.com/office/officeart/2005/8/layout/hList1"/>
    <dgm:cxn modelId="{13E69BF3-73CF-494A-813C-E8AB17A4E223}" srcId="{F6AA1BFD-6C1D-489A-A78E-F5BC0D291D9A}" destId="{1FF954EA-26AF-423F-8669-B980E89CA8A8}" srcOrd="3" destOrd="0" parTransId="{93C4D702-C7AB-4A9A-950C-730721094639}" sibTransId="{AA0F6CF5-E2C8-4ABF-8F27-FE51ED43F834}"/>
    <dgm:cxn modelId="{F9359EF5-F25B-441B-A4A7-2A6EE734F988}" srcId="{F6AA1BFD-6C1D-489A-A78E-F5BC0D291D9A}" destId="{29617E40-8D97-48A3-B7A1-F6AFDCD10C65}" srcOrd="1" destOrd="0" parTransId="{5D957EF4-173D-4037-960F-50B087AD4683}" sibTransId="{6E378F20-382C-4F8C-8E5B-D6C5C38D0089}"/>
    <dgm:cxn modelId="{6DAEB80E-A815-4D4E-9707-5E49DBD917A7}" type="presParOf" srcId="{5C51C460-E8D1-4DD0-AE29-F50FA79E154A}" destId="{7DBCB46A-C034-472E-8790-84D2D76456A5}" srcOrd="0" destOrd="0" presId="urn:microsoft.com/office/officeart/2005/8/layout/hList1"/>
    <dgm:cxn modelId="{E692F243-C65A-48A2-ADF2-AF960BDEE22B}" type="presParOf" srcId="{7DBCB46A-C034-472E-8790-84D2D76456A5}" destId="{D4169FB7-9013-4027-9682-5B08F6AC0ECA}" srcOrd="0" destOrd="0" presId="urn:microsoft.com/office/officeart/2005/8/layout/hList1"/>
    <dgm:cxn modelId="{CA71D276-4F53-45F0-9F64-79C99F72DC19}" type="presParOf" srcId="{7DBCB46A-C034-472E-8790-84D2D76456A5}" destId="{CFA77396-3F52-43CA-9013-D420E27F0D62}" srcOrd="1" destOrd="0" presId="urn:microsoft.com/office/officeart/2005/8/layout/hList1"/>
    <dgm:cxn modelId="{4AFC0A62-5214-4061-95B7-035E6B407F46}" type="presParOf" srcId="{5C51C460-E8D1-4DD0-AE29-F50FA79E154A}" destId="{DC482C7B-4F87-4C0B-B84F-FC67C4952AF5}" srcOrd="1" destOrd="0" presId="urn:microsoft.com/office/officeart/2005/8/layout/hList1"/>
    <dgm:cxn modelId="{BC333E33-6EA3-44B1-8F11-1429D14BF8F5}" type="presParOf" srcId="{5C51C460-E8D1-4DD0-AE29-F50FA79E154A}" destId="{39D707A1-77E0-4CB9-B24A-8E86D00B040D}" srcOrd="2" destOrd="0" presId="urn:microsoft.com/office/officeart/2005/8/layout/hList1"/>
    <dgm:cxn modelId="{0AD9364B-AD00-4F28-8917-AB5D9C84363F}" type="presParOf" srcId="{39D707A1-77E0-4CB9-B24A-8E86D00B040D}" destId="{2D59C051-C981-45B7-B61C-30215FFE7298}" srcOrd="0" destOrd="0" presId="urn:microsoft.com/office/officeart/2005/8/layout/hList1"/>
    <dgm:cxn modelId="{5EEF2755-1B53-45C9-BB3A-41BBFDD6C2E5}" type="presParOf" srcId="{39D707A1-77E0-4CB9-B24A-8E86D00B040D}" destId="{39C0F337-E094-4ADD-90B4-52B0BC8007BF}" srcOrd="1" destOrd="0" presId="urn:microsoft.com/office/officeart/2005/8/layout/hList1"/>
    <dgm:cxn modelId="{C3FDF3CD-6B9B-4A05-8187-67E22D5581FE}" type="presParOf" srcId="{5C51C460-E8D1-4DD0-AE29-F50FA79E154A}" destId="{B8917C33-AAA7-4E17-B0FA-E3E0215AD448}" srcOrd="3" destOrd="0" presId="urn:microsoft.com/office/officeart/2005/8/layout/hList1"/>
    <dgm:cxn modelId="{8E9098A2-B0E2-4E72-8CFF-4F2674F0F80E}" type="presParOf" srcId="{5C51C460-E8D1-4DD0-AE29-F50FA79E154A}" destId="{4CB61814-2491-4A46-8D6E-A34B5C17AB7D}" srcOrd="4" destOrd="0" presId="urn:microsoft.com/office/officeart/2005/8/layout/hList1"/>
    <dgm:cxn modelId="{6A2F3965-BCA6-43A3-A1E6-4D393DBCB613}" type="presParOf" srcId="{4CB61814-2491-4A46-8D6E-A34B5C17AB7D}" destId="{761E4CB3-E528-4667-A389-4E62D1133467}" srcOrd="0" destOrd="0" presId="urn:microsoft.com/office/officeart/2005/8/layout/hList1"/>
    <dgm:cxn modelId="{BFFB1E95-3093-46DB-866A-4E9F867CB03E}" type="presParOf" srcId="{4CB61814-2491-4A46-8D6E-A34B5C17AB7D}" destId="{0011B4CE-FB03-45C9-BFC0-4EE58DC694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169FB7-9013-4027-9682-5B08F6AC0ECA}">
      <dsp:nvSpPr>
        <dsp:cNvPr id="0" name=""/>
        <dsp:cNvSpPr/>
      </dsp:nvSpPr>
      <dsp:spPr>
        <a:xfrm>
          <a:off x="3555" y="35115"/>
          <a:ext cx="3466510" cy="691200"/>
        </a:xfrm>
        <a:prstGeom prst="rect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FF7C80"/>
              </a:solidFill>
            </a:rPr>
            <a:t>2</a:t>
          </a:r>
          <a:r>
            <a:rPr lang="en-US" sz="2000" b="1" kern="1200" dirty="0"/>
            <a:t>  </a:t>
          </a:r>
          <a:r>
            <a:rPr lang="en-US" sz="1800" b="0" kern="1200" dirty="0"/>
            <a:t>High</a:t>
          </a:r>
        </a:p>
      </dsp:txBody>
      <dsp:txXfrm>
        <a:off x="3555" y="35115"/>
        <a:ext cx="3466510" cy="691200"/>
      </dsp:txXfrm>
    </dsp:sp>
    <dsp:sp modelId="{CFA77396-3F52-43CA-9013-D420E27F0D62}">
      <dsp:nvSpPr>
        <dsp:cNvPr id="0" name=""/>
        <dsp:cNvSpPr/>
      </dsp:nvSpPr>
      <dsp:spPr>
        <a:xfrm>
          <a:off x="3555" y="726315"/>
          <a:ext cx="3466510" cy="2766960"/>
        </a:xfrm>
        <a:prstGeom prst="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b="1" kern="1200" dirty="0"/>
            <a:t>Imperative to fix, needs to be  worked on before the product can be released</a:t>
          </a:r>
          <a:r>
            <a:rPr lang="en-US" sz="1400" kern="1200" dirty="0"/>
            <a:t>: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ummary of problems observed in this categor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imarily the consistency issu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Variation in the layouts for the same or similar featur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Navigation/Menu &amp; actions related issu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Horizontal scrolling which are not part of the design</a:t>
          </a:r>
        </a:p>
      </dsp:txBody>
      <dsp:txXfrm>
        <a:off x="3555" y="726315"/>
        <a:ext cx="3466510" cy="2766960"/>
      </dsp:txXfrm>
    </dsp:sp>
    <dsp:sp modelId="{2D59C051-C981-45B7-B61C-30215FFE7298}">
      <dsp:nvSpPr>
        <dsp:cNvPr id="0" name=""/>
        <dsp:cNvSpPr/>
      </dsp:nvSpPr>
      <dsp:spPr>
        <a:xfrm>
          <a:off x="3955376" y="35115"/>
          <a:ext cx="3466510" cy="691200"/>
        </a:xfrm>
        <a:prstGeom prst="rect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FFC000"/>
              </a:solidFill>
            </a:rPr>
            <a:t>5</a:t>
          </a:r>
          <a:r>
            <a:rPr lang="en-US" sz="2000" b="1" kern="1200" dirty="0"/>
            <a:t>  </a:t>
          </a:r>
          <a:r>
            <a:rPr lang="en-US" sz="1800" b="0" kern="1200" dirty="0"/>
            <a:t>Medium</a:t>
          </a:r>
        </a:p>
      </dsp:txBody>
      <dsp:txXfrm>
        <a:off x="3955376" y="35115"/>
        <a:ext cx="3466510" cy="691200"/>
      </dsp:txXfrm>
    </dsp:sp>
    <dsp:sp modelId="{39C0F337-E094-4ADD-90B4-52B0BC8007BF}">
      <dsp:nvSpPr>
        <dsp:cNvPr id="0" name=""/>
        <dsp:cNvSpPr/>
      </dsp:nvSpPr>
      <dsp:spPr>
        <a:xfrm>
          <a:off x="3955376" y="726315"/>
          <a:ext cx="3466510" cy="2766960"/>
        </a:xfrm>
        <a:prstGeom prst="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b="1" kern="1200" dirty="0"/>
            <a:t>Important to fix and should be considered before product can be released: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ummary of problems observed in this categor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Typographical inconsistency and issu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White spacing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Additional features for the better user experien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lacements of the objects</a:t>
          </a:r>
        </a:p>
      </dsp:txBody>
      <dsp:txXfrm>
        <a:off x="3955376" y="726315"/>
        <a:ext cx="3466510" cy="2766960"/>
      </dsp:txXfrm>
    </dsp:sp>
    <dsp:sp modelId="{761E4CB3-E528-4667-A389-4E62D1133467}">
      <dsp:nvSpPr>
        <dsp:cNvPr id="0" name=""/>
        <dsp:cNvSpPr/>
      </dsp:nvSpPr>
      <dsp:spPr>
        <a:xfrm>
          <a:off x="7907198" y="35115"/>
          <a:ext cx="3466510" cy="691200"/>
        </a:xfrm>
        <a:prstGeom prst="rect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chemeClr val="accent5">
                  <a:lumMod val="40000"/>
                  <a:lumOff val="60000"/>
                </a:schemeClr>
              </a:solidFill>
            </a:rPr>
            <a:t>2</a:t>
          </a:r>
          <a:r>
            <a:rPr lang="en-US" sz="2000" b="1" kern="1200" dirty="0"/>
            <a:t>  </a:t>
          </a:r>
          <a:r>
            <a:rPr lang="en-US" sz="1800" b="0" kern="1200" dirty="0"/>
            <a:t>Low</a:t>
          </a:r>
        </a:p>
      </dsp:txBody>
      <dsp:txXfrm>
        <a:off x="7907198" y="35115"/>
        <a:ext cx="3466510" cy="691200"/>
      </dsp:txXfrm>
    </dsp:sp>
    <dsp:sp modelId="{0011B4CE-FB03-45C9-BFC0-4EE58DC694F8}">
      <dsp:nvSpPr>
        <dsp:cNvPr id="0" name=""/>
        <dsp:cNvSpPr/>
      </dsp:nvSpPr>
      <dsp:spPr>
        <a:xfrm>
          <a:off x="7910753" y="746487"/>
          <a:ext cx="3466510" cy="2766960"/>
        </a:xfrm>
        <a:prstGeom prst="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b="1" kern="1200" dirty="0"/>
            <a:t>Need not be fixed unless extra time is available on project: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ummary of problems observed in this categor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smetics or style related issu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aginations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Vertical scroll bars</a:t>
          </a:r>
        </a:p>
      </dsp:txBody>
      <dsp:txXfrm>
        <a:off x="7910753" y="746487"/>
        <a:ext cx="3466510" cy="27669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27/10/2022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27/10/2022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Insert comments</a:t>
            </a:r>
            <a:endParaRPr lang="pt-BR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5653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8568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1633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365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hyperlink" Target="http://www.twitter.com/capgemini" TargetMode="Externa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www.facebook.com/capgemini" TargetMode="External"/><Relationship Id="rId7" Type="http://schemas.openxmlformats.org/officeDocument/2006/relationships/hyperlink" Target="http://www.slideshare.net/capgemini" TargetMode="External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11" Type="http://schemas.openxmlformats.org/officeDocument/2006/relationships/hyperlink" Target="http://www.youtube.com/capgeminimedia" TargetMode="External"/><Relationship Id="rId5" Type="http://schemas.openxmlformats.org/officeDocument/2006/relationships/hyperlink" Target="http://www.linkedin.com/company/capgemini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hyperlink" Target="http://www.twitter.com/capgemini" TargetMode="Externa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capgeminimedia" TargetMode="External"/><Relationship Id="rId13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12" Type="http://schemas.openxmlformats.org/officeDocument/2006/relationships/image" Target="../media/image2.png"/><Relationship Id="rId2" Type="http://schemas.openxmlformats.org/officeDocument/2006/relationships/hyperlink" Target="http://www.linkedin.com/company/capgemin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twitter.com/capgemini" TargetMode="External"/><Relationship Id="rId11" Type="http://schemas.openxmlformats.org/officeDocument/2006/relationships/image" Target="../media/image3.png"/><Relationship Id="rId5" Type="http://schemas.openxmlformats.org/officeDocument/2006/relationships/image" Target="../media/image5.png"/><Relationship Id="rId10" Type="http://schemas.openxmlformats.org/officeDocument/2006/relationships/hyperlink" Target="http://www.facebook.com/capgemini" TargetMode="External"/><Relationship Id="rId4" Type="http://schemas.openxmlformats.org/officeDocument/2006/relationships/hyperlink" Target="http://www.slideshare.net/capgemini" TargetMode="External"/><Relationship Id="rId9" Type="http://schemas.openxmlformats.org/officeDocument/2006/relationships/image" Target="../media/image7.png"/><Relationship Id="rId14" Type="http://schemas.openxmlformats.org/officeDocument/2006/relationships/image" Target="../media/image10.sv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.png"/><Relationship Id="rId3" Type="http://schemas.openxmlformats.org/officeDocument/2006/relationships/hyperlink" Target="http://www.linkedin.com/company/capgemini" TargetMode="External"/><Relationship Id="rId7" Type="http://schemas.openxmlformats.org/officeDocument/2006/relationships/hyperlink" Target="http://www.twitter.com/capgemini" TargetMode="External"/><Relationship Id="rId12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hyperlink" Target="http://www.facebook.com/capgemini" TargetMode="External"/><Relationship Id="rId5" Type="http://schemas.openxmlformats.org/officeDocument/2006/relationships/hyperlink" Target="http://www.slideshare.net/capgemini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://www.youtube.com/capgeminimedia" TargetMode="External"/><Relationship Id="rId1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aphic 13">
            <a:extLst>
              <a:ext uri="{FF2B5EF4-FFF2-40B4-BE49-F238E27FC236}">
                <a16:creationId xmlns:a16="http://schemas.microsoft.com/office/drawing/2014/main" id="{5D1B5F70-39A3-4E01-8EEB-A624F6527260}"/>
              </a:ext>
            </a:extLst>
          </p:cNvPr>
          <p:cNvSpPr>
            <a:spLocks noChangeAspect="1"/>
          </p:cNvSpPr>
          <p:nvPr userDrawn="1"/>
        </p:nvSpPr>
        <p:spPr>
          <a:xfrm>
            <a:off x="263352" y="908720"/>
            <a:ext cx="10199251" cy="6192688"/>
          </a:xfrm>
          <a:custGeom>
            <a:avLst/>
            <a:gdLst>
              <a:gd name="connsiteX0" fmla="*/ 36195 w 8117205"/>
              <a:gd name="connsiteY0" fmla="*/ 4710199 h 4710198"/>
              <a:gd name="connsiteX1" fmla="*/ 0 w 8117205"/>
              <a:gd name="connsiteY1" fmla="*/ 4697817 h 4710198"/>
              <a:gd name="connsiteX2" fmla="*/ 538163 w 8117205"/>
              <a:gd name="connsiteY2" fmla="*/ 3739602 h 4710198"/>
              <a:gd name="connsiteX3" fmla="*/ 1340168 w 8117205"/>
              <a:gd name="connsiteY3" fmla="*/ 2915689 h 4710198"/>
              <a:gd name="connsiteX4" fmla="*/ 2613660 w 8117205"/>
              <a:gd name="connsiteY4" fmla="*/ 2190837 h 4710198"/>
              <a:gd name="connsiteX5" fmla="*/ 2621280 w 8117205"/>
              <a:gd name="connsiteY5" fmla="*/ 2187979 h 4710198"/>
              <a:gd name="connsiteX6" fmla="*/ 2628900 w 8117205"/>
              <a:gd name="connsiteY6" fmla="*/ 2191789 h 4710198"/>
              <a:gd name="connsiteX7" fmla="*/ 4513898 w 8117205"/>
              <a:gd name="connsiteY7" fmla="*/ 2830917 h 4710198"/>
              <a:gd name="connsiteX8" fmla="*/ 5841683 w 8117205"/>
              <a:gd name="connsiteY8" fmla="*/ 2599459 h 4710198"/>
              <a:gd name="connsiteX9" fmla="*/ 6102668 w 8117205"/>
              <a:gd name="connsiteY9" fmla="*/ 1288819 h 4710198"/>
              <a:gd name="connsiteX10" fmla="*/ 6256020 w 8117205"/>
              <a:gd name="connsiteY10" fmla="*/ 204874 h 4710198"/>
              <a:gd name="connsiteX11" fmla="*/ 7391400 w 8117205"/>
              <a:gd name="connsiteY11" fmla="*/ 43901 h 4710198"/>
              <a:gd name="connsiteX12" fmla="*/ 8117205 w 8117205"/>
              <a:gd name="connsiteY12" fmla="*/ 242021 h 4710198"/>
              <a:gd name="connsiteX13" fmla="*/ 8102918 w 8117205"/>
              <a:gd name="connsiteY13" fmla="*/ 277264 h 4710198"/>
              <a:gd name="connsiteX14" fmla="*/ 7384733 w 8117205"/>
              <a:gd name="connsiteY14" fmla="*/ 82001 h 4710198"/>
              <a:gd name="connsiteX15" fmla="*/ 6281738 w 8117205"/>
              <a:gd name="connsiteY15" fmla="*/ 233449 h 4710198"/>
              <a:gd name="connsiteX16" fmla="*/ 6139815 w 8117205"/>
              <a:gd name="connsiteY16" fmla="*/ 1279294 h 4710198"/>
              <a:gd name="connsiteX17" fmla="*/ 6187440 w 8117205"/>
              <a:gd name="connsiteY17" fmla="*/ 2101302 h 4710198"/>
              <a:gd name="connsiteX18" fmla="*/ 5866448 w 8117205"/>
              <a:gd name="connsiteY18" fmla="*/ 2629939 h 4710198"/>
              <a:gd name="connsiteX19" fmla="*/ 4510088 w 8117205"/>
              <a:gd name="connsiteY19" fmla="*/ 2869969 h 4710198"/>
              <a:gd name="connsiteX20" fmla="*/ 2620328 w 8117205"/>
              <a:gd name="connsiteY20" fmla="*/ 2230842 h 4710198"/>
              <a:gd name="connsiteX21" fmla="*/ 568643 w 8117205"/>
              <a:gd name="connsiteY21" fmla="*/ 3763414 h 4710198"/>
              <a:gd name="connsiteX22" fmla="*/ 36195 w 8117205"/>
              <a:gd name="connsiteY22" fmla="*/ 4710199 h 4710198"/>
              <a:gd name="connsiteX0" fmla="*/ 36195 w 8117205"/>
              <a:gd name="connsiteY0" fmla="*/ 4710199 h 4710199"/>
              <a:gd name="connsiteX1" fmla="*/ 0 w 8117205"/>
              <a:gd name="connsiteY1" fmla="*/ 4697817 h 4710199"/>
              <a:gd name="connsiteX2" fmla="*/ 538163 w 8117205"/>
              <a:gd name="connsiteY2" fmla="*/ 3739602 h 4710199"/>
              <a:gd name="connsiteX3" fmla="*/ 1340168 w 8117205"/>
              <a:gd name="connsiteY3" fmla="*/ 2915689 h 4710199"/>
              <a:gd name="connsiteX4" fmla="*/ 2613660 w 8117205"/>
              <a:gd name="connsiteY4" fmla="*/ 2190837 h 4710199"/>
              <a:gd name="connsiteX5" fmla="*/ 2621280 w 8117205"/>
              <a:gd name="connsiteY5" fmla="*/ 2187979 h 4710199"/>
              <a:gd name="connsiteX6" fmla="*/ 2628900 w 8117205"/>
              <a:gd name="connsiteY6" fmla="*/ 2191789 h 4710199"/>
              <a:gd name="connsiteX7" fmla="*/ 4513898 w 8117205"/>
              <a:gd name="connsiteY7" fmla="*/ 2830917 h 4710199"/>
              <a:gd name="connsiteX8" fmla="*/ 5841683 w 8117205"/>
              <a:gd name="connsiteY8" fmla="*/ 2599459 h 4710199"/>
              <a:gd name="connsiteX9" fmla="*/ 6102668 w 8117205"/>
              <a:gd name="connsiteY9" fmla="*/ 1288819 h 4710199"/>
              <a:gd name="connsiteX10" fmla="*/ 6256020 w 8117205"/>
              <a:gd name="connsiteY10" fmla="*/ 204874 h 4710199"/>
              <a:gd name="connsiteX11" fmla="*/ 7391400 w 8117205"/>
              <a:gd name="connsiteY11" fmla="*/ 43901 h 4710199"/>
              <a:gd name="connsiteX12" fmla="*/ 8117205 w 8117205"/>
              <a:gd name="connsiteY12" fmla="*/ 242021 h 4710199"/>
              <a:gd name="connsiteX13" fmla="*/ 7384733 w 8117205"/>
              <a:gd name="connsiteY13" fmla="*/ 82001 h 4710199"/>
              <a:gd name="connsiteX14" fmla="*/ 6281738 w 8117205"/>
              <a:gd name="connsiteY14" fmla="*/ 233449 h 4710199"/>
              <a:gd name="connsiteX15" fmla="*/ 6139815 w 8117205"/>
              <a:gd name="connsiteY15" fmla="*/ 1279294 h 4710199"/>
              <a:gd name="connsiteX16" fmla="*/ 6187440 w 8117205"/>
              <a:gd name="connsiteY16" fmla="*/ 2101302 h 4710199"/>
              <a:gd name="connsiteX17" fmla="*/ 5866448 w 8117205"/>
              <a:gd name="connsiteY17" fmla="*/ 2629939 h 4710199"/>
              <a:gd name="connsiteX18" fmla="*/ 4510088 w 8117205"/>
              <a:gd name="connsiteY18" fmla="*/ 2869969 h 4710199"/>
              <a:gd name="connsiteX19" fmla="*/ 2620328 w 8117205"/>
              <a:gd name="connsiteY19" fmla="*/ 2230842 h 4710199"/>
              <a:gd name="connsiteX20" fmla="*/ 568643 w 8117205"/>
              <a:gd name="connsiteY20" fmla="*/ 3763414 h 4710199"/>
              <a:gd name="connsiteX21" fmla="*/ 36195 w 8117205"/>
              <a:gd name="connsiteY21" fmla="*/ 4710199 h 4710199"/>
              <a:gd name="connsiteX0" fmla="*/ 36195 w 7528033"/>
              <a:gd name="connsiteY0" fmla="*/ 4673434 h 4673434"/>
              <a:gd name="connsiteX1" fmla="*/ 0 w 7528033"/>
              <a:gd name="connsiteY1" fmla="*/ 4661052 h 4673434"/>
              <a:gd name="connsiteX2" fmla="*/ 538163 w 7528033"/>
              <a:gd name="connsiteY2" fmla="*/ 3702837 h 4673434"/>
              <a:gd name="connsiteX3" fmla="*/ 1340168 w 7528033"/>
              <a:gd name="connsiteY3" fmla="*/ 2878924 h 4673434"/>
              <a:gd name="connsiteX4" fmla="*/ 2613660 w 7528033"/>
              <a:gd name="connsiteY4" fmla="*/ 2154072 h 4673434"/>
              <a:gd name="connsiteX5" fmla="*/ 2621280 w 7528033"/>
              <a:gd name="connsiteY5" fmla="*/ 2151214 h 4673434"/>
              <a:gd name="connsiteX6" fmla="*/ 2628900 w 7528033"/>
              <a:gd name="connsiteY6" fmla="*/ 2155024 h 4673434"/>
              <a:gd name="connsiteX7" fmla="*/ 4513898 w 7528033"/>
              <a:gd name="connsiteY7" fmla="*/ 2794152 h 4673434"/>
              <a:gd name="connsiteX8" fmla="*/ 5841683 w 7528033"/>
              <a:gd name="connsiteY8" fmla="*/ 2562694 h 4673434"/>
              <a:gd name="connsiteX9" fmla="*/ 6102668 w 7528033"/>
              <a:gd name="connsiteY9" fmla="*/ 1252054 h 4673434"/>
              <a:gd name="connsiteX10" fmla="*/ 6256020 w 7528033"/>
              <a:gd name="connsiteY10" fmla="*/ 168109 h 4673434"/>
              <a:gd name="connsiteX11" fmla="*/ 7391400 w 7528033"/>
              <a:gd name="connsiteY11" fmla="*/ 7136 h 4673434"/>
              <a:gd name="connsiteX12" fmla="*/ 7384733 w 7528033"/>
              <a:gd name="connsiteY12" fmla="*/ 45236 h 4673434"/>
              <a:gd name="connsiteX13" fmla="*/ 6281738 w 7528033"/>
              <a:gd name="connsiteY13" fmla="*/ 196684 h 4673434"/>
              <a:gd name="connsiteX14" fmla="*/ 6139815 w 7528033"/>
              <a:gd name="connsiteY14" fmla="*/ 1242529 h 4673434"/>
              <a:gd name="connsiteX15" fmla="*/ 6187440 w 7528033"/>
              <a:gd name="connsiteY15" fmla="*/ 2064537 h 4673434"/>
              <a:gd name="connsiteX16" fmla="*/ 5866448 w 7528033"/>
              <a:gd name="connsiteY16" fmla="*/ 2593174 h 4673434"/>
              <a:gd name="connsiteX17" fmla="*/ 4510088 w 7528033"/>
              <a:gd name="connsiteY17" fmla="*/ 2833204 h 4673434"/>
              <a:gd name="connsiteX18" fmla="*/ 2620328 w 7528033"/>
              <a:gd name="connsiteY18" fmla="*/ 2194077 h 4673434"/>
              <a:gd name="connsiteX19" fmla="*/ 568643 w 7528033"/>
              <a:gd name="connsiteY19" fmla="*/ 3726649 h 4673434"/>
              <a:gd name="connsiteX20" fmla="*/ 36195 w 7528033"/>
              <a:gd name="connsiteY20" fmla="*/ 4673434 h 4673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528033" h="4673434">
                <a:moveTo>
                  <a:pt x="36195" y="4673434"/>
                </a:moveTo>
                <a:lnTo>
                  <a:pt x="0" y="4661052"/>
                </a:lnTo>
                <a:cubicBezTo>
                  <a:pt x="953" y="4656289"/>
                  <a:pt x="145733" y="4224807"/>
                  <a:pt x="538163" y="3702837"/>
                </a:cubicBezTo>
                <a:cubicBezTo>
                  <a:pt x="768668" y="3396132"/>
                  <a:pt x="1038225" y="3118954"/>
                  <a:pt x="1340168" y="2878924"/>
                </a:cubicBezTo>
                <a:cubicBezTo>
                  <a:pt x="1717358" y="2577934"/>
                  <a:pt x="2145983" y="2334094"/>
                  <a:pt x="2613660" y="2154072"/>
                </a:cubicBezTo>
                <a:lnTo>
                  <a:pt x="2621280" y="2151214"/>
                </a:lnTo>
                <a:lnTo>
                  <a:pt x="2628900" y="2155024"/>
                </a:lnTo>
                <a:cubicBezTo>
                  <a:pt x="3289935" y="2497924"/>
                  <a:pt x="3941445" y="2718904"/>
                  <a:pt x="4513898" y="2794152"/>
                </a:cubicBezTo>
                <a:cubicBezTo>
                  <a:pt x="5095875" y="2871304"/>
                  <a:pt x="5554980" y="2790341"/>
                  <a:pt x="5841683" y="2562694"/>
                </a:cubicBezTo>
                <a:cubicBezTo>
                  <a:pt x="6168390" y="2302662"/>
                  <a:pt x="6257925" y="1849271"/>
                  <a:pt x="6102668" y="1252054"/>
                </a:cubicBezTo>
                <a:cubicBezTo>
                  <a:pt x="5969318" y="741514"/>
                  <a:pt x="6020753" y="376706"/>
                  <a:pt x="6256020" y="168109"/>
                </a:cubicBezTo>
                <a:cubicBezTo>
                  <a:pt x="6480810" y="-31916"/>
                  <a:pt x="7203281" y="27615"/>
                  <a:pt x="7391400" y="7136"/>
                </a:cubicBezTo>
                <a:cubicBezTo>
                  <a:pt x="7579519" y="-13343"/>
                  <a:pt x="7569677" y="13645"/>
                  <a:pt x="7384733" y="45236"/>
                </a:cubicBezTo>
                <a:cubicBezTo>
                  <a:pt x="7199789" y="76827"/>
                  <a:pt x="6550343" y="-41441"/>
                  <a:pt x="6281738" y="196684"/>
                </a:cubicBezTo>
                <a:cubicBezTo>
                  <a:pt x="6058853" y="394804"/>
                  <a:pt x="6011228" y="747229"/>
                  <a:pt x="6139815" y="1242529"/>
                </a:cubicBezTo>
                <a:cubicBezTo>
                  <a:pt x="6221730" y="1557806"/>
                  <a:pt x="6237923" y="1834031"/>
                  <a:pt x="6187440" y="2064537"/>
                </a:cubicBezTo>
                <a:cubicBezTo>
                  <a:pt x="6138863" y="2283612"/>
                  <a:pt x="6031230" y="2460777"/>
                  <a:pt x="5866448" y="2593174"/>
                </a:cubicBezTo>
                <a:cubicBezTo>
                  <a:pt x="5572125" y="2828441"/>
                  <a:pt x="5102543" y="2911309"/>
                  <a:pt x="4510088" y="2833204"/>
                </a:cubicBezTo>
                <a:cubicBezTo>
                  <a:pt x="3935730" y="2757004"/>
                  <a:pt x="3282315" y="2536024"/>
                  <a:pt x="2620328" y="2194077"/>
                </a:cubicBezTo>
                <a:cubicBezTo>
                  <a:pt x="1574483" y="2598889"/>
                  <a:pt x="927735" y="3251352"/>
                  <a:pt x="568643" y="3726649"/>
                </a:cubicBezTo>
                <a:cubicBezTo>
                  <a:pt x="180023" y="4242904"/>
                  <a:pt x="37148" y="4668672"/>
                  <a:pt x="36195" y="4673434"/>
                </a:cubicBezTo>
                <a:close/>
              </a:path>
            </a:pathLst>
          </a:custGeom>
          <a:gradFill>
            <a:gsLst>
              <a:gs pos="99000">
                <a:schemeClr val="accent2">
                  <a:alpha val="0"/>
                </a:schemeClr>
              </a:gs>
              <a:gs pos="32000">
                <a:srgbClr val="12ABDB">
                  <a:alpha val="17000"/>
                </a:srgbClr>
              </a:gs>
              <a:gs pos="17000">
                <a:schemeClr val="accent2">
                  <a:alpha val="0"/>
                </a:schemeClr>
              </a:gs>
              <a:gs pos="49000">
                <a:srgbClr val="12ABDB"/>
              </a:gs>
              <a:gs pos="70000">
                <a:schemeClr val="accent2"/>
              </a:gs>
            </a:gsLst>
            <a:lin ang="162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339007"/>
            <a:ext cx="11386134" cy="2031325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100000"/>
              </a:lnSpc>
              <a:defRPr sz="6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242574"/>
            <a:ext cx="11379200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A09D86-DB9E-4FE2-BFBA-466E1EA8439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22540" y="611982"/>
            <a:ext cx="2267015" cy="509586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C67CADD-5129-49B0-B42F-A2BC496C3BCE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D68C21D-F9BF-4896-A411-709539F49CAB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42B95A5D-A70C-4FB9-A603-AB615598B22E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953BA2B-D253-4C8D-8A10-508707484AA1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0D176FC-B7CF-4E0C-95C6-7F48757E5373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25218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6D1AE-BB05-402A-8454-CE893B604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2" y="1327151"/>
            <a:ext cx="56007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2205318"/>
            <a:ext cx="5600701" cy="425739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96013" y="1327151"/>
            <a:ext cx="5588001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0070AD"/>
                </a:solidFill>
                <a:latin typeface="+mn-lt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6013" y="2205318"/>
            <a:ext cx="5594351" cy="425739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291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4515F3-E20E-47CC-8314-0A030AB3D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4813" y="1327151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1047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1047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30755" y="1327150"/>
            <a:ext cx="3456432" cy="8378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lang="en-US" sz="16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30755" y="2205319"/>
            <a:ext cx="3456432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43866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8A66D25-366C-4142-B5D9-9A4107D8B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9A63D1-B6C5-4F10-ABD1-7445EB2D8ADC}"/>
              </a:ext>
            </a:extLst>
          </p:cNvPr>
          <p:cNvSpPr/>
          <p:nvPr userDrawn="1"/>
        </p:nvSpPr>
        <p:spPr>
          <a:xfrm>
            <a:off x="407988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AE9BC27-7262-47DA-99EA-4AB1F52A8C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016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24DC023-E500-4824-A661-003A56829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015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69DEBB0-4052-42E9-B8A1-20FEA957F747}"/>
              </a:ext>
            </a:extLst>
          </p:cNvPr>
          <p:cNvSpPr/>
          <p:nvPr userDrawn="1"/>
        </p:nvSpPr>
        <p:spPr>
          <a:xfrm>
            <a:off x="4333875" y="2423886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BBF7568-EC18-40A1-B3C2-1E64D0BFDE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50903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336B7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1037A2D-940F-4255-984B-C4A7AABBB72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650903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336B7D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0917E2-630D-4941-BA4B-7EB65D4A7850}"/>
              </a:ext>
            </a:extLst>
          </p:cNvPr>
          <p:cNvSpPr/>
          <p:nvPr userDrawn="1"/>
        </p:nvSpPr>
        <p:spPr>
          <a:xfrm>
            <a:off x="8259763" y="2406300"/>
            <a:ext cx="3524250" cy="4046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C0A1379-EE65-47B3-B113-45D1ED57400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576791" y="3332368"/>
            <a:ext cx="2890194" cy="64504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lnSpc>
                <a:spcPts val="1800"/>
              </a:lnSpc>
              <a:defRPr sz="1600" b="0">
                <a:solidFill>
                  <a:srgbClr val="BA2980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849E3D5-EF9E-46F2-9C73-58806A392B3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76791" y="4079991"/>
            <a:ext cx="2890194" cy="220156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buClr>
                <a:srgbClr val="BA2980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779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F0C9DF-D1FA-45A1-91F6-147FDC3E7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21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6BB52B-0C5D-4023-89D5-282E9A520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850DA69-657E-41C3-B340-B16C354CA1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3" y="1447800"/>
            <a:ext cx="11406187" cy="4951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0019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igh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89E73A-8AF6-4995-85C4-948312F9A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C5D7A7-45E9-4756-B28B-644907783F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812" y="1447800"/>
            <a:ext cx="11406188" cy="495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8244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dar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64961"/>
            <a:ext cx="11329987" cy="1477328"/>
          </a:xfrm>
        </p:spPr>
        <p:txBody>
          <a:bodyPr lIns="0" bIns="0" anchor="b" anchorCtr="0">
            <a:spAutoFit/>
          </a:bodyPr>
          <a:lstStyle>
            <a:lvl1pPr algn="l">
              <a:lnSpc>
                <a:spcPct val="80000"/>
              </a:lnSpc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3772800"/>
            <a:ext cx="11329987" cy="307777"/>
          </a:xfrm>
        </p:spPr>
        <p:txBody>
          <a:bodyPr lIns="0" tIns="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744C52A-2030-4EFF-B1D2-B60B2B2798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4813" y="1825079"/>
            <a:ext cx="4611067" cy="307777"/>
          </a:xfrm>
        </p:spPr>
        <p:txBody>
          <a:bodyPr wrap="square" anchor="b">
            <a:spAutoFit/>
          </a:bodyPr>
          <a:lstStyle>
            <a:lvl1pPr>
              <a:defRPr>
                <a:solidFill>
                  <a:schemeClr val="accent2"/>
                </a:solidFill>
                <a:latin typeface="Ubuntu Light" panose="020B0304030602030204" pitchFamily="34" charset="0"/>
              </a:defRPr>
            </a:lvl1pPr>
            <a:lvl2pPr marL="88900" indent="0">
              <a:buNone/>
              <a:defRPr/>
            </a:lvl2pPr>
          </a:lstStyle>
          <a:p>
            <a:pPr lvl="0"/>
            <a:r>
              <a:rPr lang="fr-FR"/>
              <a:t>INSERT A LABEL/ALBEIT</a:t>
            </a:r>
          </a:p>
        </p:txBody>
      </p:sp>
    </p:spTree>
    <p:extLst>
      <p:ext uri="{BB962C8B-B14F-4D97-AF65-F5344CB8AC3E}">
        <p14:creationId xmlns:p14="http://schemas.microsoft.com/office/powerpoint/2010/main" val="4153188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ple">
    <p:bg>
      <p:bgPr>
        <a:solidFill>
          <a:srgbClr val="2B0A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146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icture whit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EB2D5A7-8ABD-41FC-934A-8D0E9E07B9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904137 w 12192000"/>
              <a:gd name="connsiteY0" fmla="*/ 374761 h 6858000"/>
              <a:gd name="connsiteX1" fmla="*/ 11851113 w 12192000"/>
              <a:gd name="connsiteY1" fmla="*/ 409256 h 6858000"/>
              <a:gd name="connsiteX2" fmla="*/ 11813853 w 12192000"/>
              <a:gd name="connsiteY2" fmla="*/ 476806 h 6858000"/>
              <a:gd name="connsiteX3" fmla="*/ 11772294 w 12192000"/>
              <a:gd name="connsiteY3" fmla="*/ 537171 h 6858000"/>
              <a:gd name="connsiteX4" fmla="*/ 11703507 w 12192000"/>
              <a:gd name="connsiteY4" fmla="*/ 580289 h 6858000"/>
              <a:gd name="connsiteX5" fmla="*/ 11747932 w 12192000"/>
              <a:gd name="connsiteY5" fmla="*/ 591787 h 6858000"/>
              <a:gd name="connsiteX6" fmla="*/ 11796656 w 12192000"/>
              <a:gd name="connsiteY6" fmla="*/ 587475 h 6858000"/>
              <a:gd name="connsiteX7" fmla="*/ 11879774 w 12192000"/>
              <a:gd name="connsiteY7" fmla="*/ 551544 h 6858000"/>
              <a:gd name="connsiteX8" fmla="*/ 11816719 w 12192000"/>
              <a:gd name="connsiteY8" fmla="*/ 494054 h 6858000"/>
              <a:gd name="connsiteX9" fmla="*/ 11904137 w 12192000"/>
              <a:gd name="connsiteY9" fmla="*/ 521361 h 6858000"/>
              <a:gd name="connsiteX10" fmla="*/ 11965759 w 12192000"/>
              <a:gd name="connsiteY10" fmla="*/ 460997 h 6858000"/>
              <a:gd name="connsiteX11" fmla="*/ 11964326 w 12192000"/>
              <a:gd name="connsiteY11" fmla="*/ 404944 h 6858000"/>
              <a:gd name="connsiteX12" fmla="*/ 11904137 w 12192000"/>
              <a:gd name="connsiteY12" fmla="*/ 374761 h 6858000"/>
              <a:gd name="connsiteX13" fmla="*/ 11779497 w 12192000"/>
              <a:gd name="connsiteY13" fmla="*/ 210928 h 6858000"/>
              <a:gd name="connsiteX14" fmla="*/ 11559747 w 12192000"/>
              <a:gd name="connsiteY14" fmla="*/ 439472 h 6858000"/>
              <a:gd name="connsiteX15" fmla="*/ 11635870 w 12192000"/>
              <a:gd name="connsiteY15" fmla="*/ 550150 h 6858000"/>
              <a:gd name="connsiteX16" fmla="*/ 11720610 w 12192000"/>
              <a:gd name="connsiteY16" fmla="*/ 545838 h 6858000"/>
              <a:gd name="connsiteX17" fmla="*/ 11780933 w 12192000"/>
              <a:gd name="connsiteY17" fmla="*/ 489780 h 6858000"/>
              <a:gd name="connsiteX18" fmla="*/ 11826894 w 12192000"/>
              <a:gd name="connsiteY18" fmla="*/ 413599 h 6858000"/>
              <a:gd name="connsiteX19" fmla="*/ 11888654 w 12192000"/>
              <a:gd name="connsiteY19" fmla="*/ 361853 h 6858000"/>
              <a:gd name="connsiteX20" fmla="*/ 11963340 w 12192000"/>
              <a:gd name="connsiteY20" fmla="*/ 380539 h 6858000"/>
              <a:gd name="connsiteX21" fmla="*/ 11900144 w 12192000"/>
              <a:gd name="connsiteY21" fmla="*/ 284235 h 6858000"/>
              <a:gd name="connsiteX22" fmla="*/ 11789551 w 12192000"/>
              <a:gd name="connsiteY22" fmla="*/ 215240 h 6858000"/>
              <a:gd name="connsiteX23" fmla="*/ 11779497 w 12192000"/>
              <a:gd name="connsiteY23" fmla="*/ 210928 h 6858000"/>
              <a:gd name="connsiteX24" fmla="*/ 0 w 12192000"/>
              <a:gd name="connsiteY24" fmla="*/ 0 h 6858000"/>
              <a:gd name="connsiteX25" fmla="*/ 12192000 w 12192000"/>
              <a:gd name="connsiteY25" fmla="*/ 0 h 6858000"/>
              <a:gd name="connsiteX26" fmla="*/ 12192000 w 12192000"/>
              <a:gd name="connsiteY26" fmla="*/ 6858000 h 6858000"/>
              <a:gd name="connsiteX27" fmla="*/ 0 w 12192000"/>
              <a:gd name="connsiteY2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92000" h="6858000">
                <a:moveTo>
                  <a:pt x="11904137" y="374761"/>
                </a:moveTo>
                <a:cubicBezTo>
                  <a:pt x="11881208" y="376199"/>
                  <a:pt x="11864011" y="390571"/>
                  <a:pt x="11851113" y="409256"/>
                </a:cubicBezTo>
                <a:cubicBezTo>
                  <a:pt x="11835349" y="429377"/>
                  <a:pt x="11825318" y="453810"/>
                  <a:pt x="11813853" y="476806"/>
                </a:cubicBezTo>
                <a:cubicBezTo>
                  <a:pt x="11802389" y="498365"/>
                  <a:pt x="11789491" y="518487"/>
                  <a:pt x="11772294" y="537171"/>
                </a:cubicBezTo>
                <a:cubicBezTo>
                  <a:pt x="11753664" y="557293"/>
                  <a:pt x="11730735" y="573103"/>
                  <a:pt x="11703507" y="580289"/>
                </a:cubicBezTo>
                <a:cubicBezTo>
                  <a:pt x="11716405" y="588912"/>
                  <a:pt x="11733601" y="591787"/>
                  <a:pt x="11747932" y="591787"/>
                </a:cubicBezTo>
                <a:cubicBezTo>
                  <a:pt x="11763696" y="593224"/>
                  <a:pt x="11780893" y="590350"/>
                  <a:pt x="11796656" y="587475"/>
                </a:cubicBezTo>
                <a:cubicBezTo>
                  <a:pt x="11826751" y="583163"/>
                  <a:pt x="11858278" y="573103"/>
                  <a:pt x="11879774" y="551544"/>
                </a:cubicBezTo>
                <a:cubicBezTo>
                  <a:pt x="11845381" y="551544"/>
                  <a:pt x="11818153" y="528548"/>
                  <a:pt x="11816719" y="494054"/>
                </a:cubicBezTo>
                <a:cubicBezTo>
                  <a:pt x="11838216" y="519924"/>
                  <a:pt x="11871176" y="529985"/>
                  <a:pt x="11904137" y="521361"/>
                </a:cubicBezTo>
                <a:cubicBezTo>
                  <a:pt x="11932798" y="512738"/>
                  <a:pt x="11957160" y="489742"/>
                  <a:pt x="11965759" y="460997"/>
                </a:cubicBezTo>
                <a:cubicBezTo>
                  <a:pt x="11971491" y="442312"/>
                  <a:pt x="11972924" y="423628"/>
                  <a:pt x="11964326" y="404944"/>
                </a:cubicBezTo>
                <a:cubicBezTo>
                  <a:pt x="11952861" y="383385"/>
                  <a:pt x="11928499" y="373324"/>
                  <a:pt x="11904137" y="374761"/>
                </a:cubicBezTo>
                <a:close/>
                <a:moveTo>
                  <a:pt x="11779497" y="210928"/>
                </a:moveTo>
                <a:cubicBezTo>
                  <a:pt x="11730664" y="271298"/>
                  <a:pt x="11559747" y="314420"/>
                  <a:pt x="11559747" y="439472"/>
                </a:cubicBezTo>
                <a:cubicBezTo>
                  <a:pt x="11559747" y="486906"/>
                  <a:pt x="11589909" y="532902"/>
                  <a:pt x="11635870" y="550150"/>
                </a:cubicBezTo>
                <a:cubicBezTo>
                  <a:pt x="11663159" y="560212"/>
                  <a:pt x="11693320" y="558775"/>
                  <a:pt x="11720610" y="545838"/>
                </a:cubicBezTo>
                <a:cubicBezTo>
                  <a:pt x="11746463" y="534339"/>
                  <a:pt x="11765134" y="514216"/>
                  <a:pt x="11780933" y="489780"/>
                </a:cubicBezTo>
                <a:cubicBezTo>
                  <a:pt x="11798168" y="465345"/>
                  <a:pt x="11811095" y="439472"/>
                  <a:pt x="11826894" y="413599"/>
                </a:cubicBezTo>
                <a:cubicBezTo>
                  <a:pt x="11841257" y="390601"/>
                  <a:pt x="11861365" y="367603"/>
                  <a:pt x="11888654" y="361853"/>
                </a:cubicBezTo>
                <a:cubicBezTo>
                  <a:pt x="11914507" y="354666"/>
                  <a:pt x="11944668" y="361853"/>
                  <a:pt x="11963340" y="380539"/>
                </a:cubicBezTo>
                <a:cubicBezTo>
                  <a:pt x="11951850" y="343167"/>
                  <a:pt x="11930306" y="311545"/>
                  <a:pt x="11900144" y="284235"/>
                </a:cubicBezTo>
                <a:cubicBezTo>
                  <a:pt x="11867110" y="254050"/>
                  <a:pt x="11829767" y="232489"/>
                  <a:pt x="11789551" y="215240"/>
                </a:cubicBezTo>
                <a:cubicBezTo>
                  <a:pt x="11786678" y="213803"/>
                  <a:pt x="11782369" y="212365"/>
                  <a:pt x="11779497" y="21092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2914748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blue P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B335D29-1EFC-4491-AD11-74BC952F53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85528 w 12192000"/>
              <a:gd name="connsiteY0" fmla="*/ 202927 h 6858000"/>
              <a:gd name="connsiteX1" fmla="*/ 11561144 w 12192000"/>
              <a:gd name="connsiteY1" fmla="*/ 434840 h 6858000"/>
              <a:gd name="connsiteX2" fmla="*/ 11638872 w 12192000"/>
              <a:gd name="connsiteY2" fmla="*/ 549328 h 6858000"/>
              <a:gd name="connsiteX3" fmla="*/ 11718066 w 12192000"/>
              <a:gd name="connsiteY3" fmla="*/ 550796 h 6858000"/>
              <a:gd name="connsiteX4" fmla="*/ 11750147 w 12192000"/>
              <a:gd name="connsiteY4" fmla="*/ 534834 h 6858000"/>
              <a:gd name="connsiteX5" fmla="*/ 11776529 w 12192000"/>
              <a:gd name="connsiteY5" fmla="*/ 511343 h 6858000"/>
              <a:gd name="connsiteX6" fmla="*/ 11769485 w 12192000"/>
              <a:gd name="connsiteY6" fmla="*/ 534267 h 6858000"/>
              <a:gd name="connsiteX7" fmla="*/ 11704684 w 12192000"/>
              <a:gd name="connsiteY7" fmla="*/ 577228 h 6858000"/>
              <a:gd name="connsiteX8" fmla="*/ 11758983 w 12192000"/>
              <a:gd name="connsiteY8" fmla="*/ 591915 h 6858000"/>
              <a:gd name="connsiteX9" fmla="*/ 11888125 w 12192000"/>
              <a:gd name="connsiteY9" fmla="*/ 549322 h 6858000"/>
              <a:gd name="connsiteX10" fmla="*/ 11823554 w 12192000"/>
              <a:gd name="connsiteY10" fmla="*/ 492041 h 6858000"/>
              <a:gd name="connsiteX11" fmla="*/ 11888125 w 12192000"/>
              <a:gd name="connsiteY11" fmla="*/ 522885 h 6858000"/>
              <a:gd name="connsiteX12" fmla="*/ 11973357 w 12192000"/>
              <a:gd name="connsiteY12" fmla="*/ 465260 h 6858000"/>
              <a:gd name="connsiteX13" fmla="*/ 11980572 w 12192000"/>
              <a:gd name="connsiteY13" fmla="*/ 428927 h 6858000"/>
              <a:gd name="connsiteX14" fmla="*/ 11980580 w 12192000"/>
              <a:gd name="connsiteY14" fmla="*/ 428969 h 6858000"/>
              <a:gd name="connsiteX15" fmla="*/ 11980580 w 12192000"/>
              <a:gd name="connsiteY15" fmla="*/ 428886 h 6858000"/>
              <a:gd name="connsiteX16" fmla="*/ 11980580 w 12192000"/>
              <a:gd name="connsiteY16" fmla="*/ 426033 h 6858000"/>
              <a:gd name="connsiteX17" fmla="*/ 11908719 w 12192000"/>
              <a:gd name="connsiteY17" fmla="*/ 277785 h 6858000"/>
              <a:gd name="connsiteX18" fmla="*/ 11795794 w 12192000"/>
              <a:gd name="connsiteY18" fmla="*/ 207330 h 6858000"/>
              <a:gd name="connsiteX19" fmla="*/ 11785528 w 12192000"/>
              <a:gd name="connsiteY19" fmla="*/ 202927 h 6858000"/>
              <a:gd name="connsiteX20" fmla="*/ 0 w 12192000"/>
              <a:gd name="connsiteY20" fmla="*/ 0 h 6858000"/>
              <a:gd name="connsiteX21" fmla="*/ 12192000 w 12192000"/>
              <a:gd name="connsiteY21" fmla="*/ 0 h 6858000"/>
              <a:gd name="connsiteX22" fmla="*/ 12192000 w 12192000"/>
              <a:gd name="connsiteY22" fmla="*/ 6858000 h 6858000"/>
              <a:gd name="connsiteX23" fmla="*/ 0 w 12192000"/>
              <a:gd name="connsiteY2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>
                <a:moveTo>
                  <a:pt x="11785528" y="202927"/>
                </a:moveTo>
                <a:cubicBezTo>
                  <a:pt x="11735665" y="263107"/>
                  <a:pt x="11561144" y="308609"/>
                  <a:pt x="11561144" y="434840"/>
                </a:cubicBezTo>
                <a:cubicBezTo>
                  <a:pt x="11561144" y="484745"/>
                  <a:pt x="11591942" y="531715"/>
                  <a:pt x="11638872" y="549328"/>
                </a:cubicBezTo>
                <a:cubicBezTo>
                  <a:pt x="11665270" y="559603"/>
                  <a:pt x="11691668" y="559603"/>
                  <a:pt x="11718066" y="550796"/>
                </a:cubicBezTo>
                <a:cubicBezTo>
                  <a:pt x="11729799" y="547127"/>
                  <a:pt x="11740431" y="541622"/>
                  <a:pt x="11750147" y="534834"/>
                </a:cubicBezTo>
                <a:lnTo>
                  <a:pt x="11776529" y="511343"/>
                </a:lnTo>
                <a:lnTo>
                  <a:pt x="11769485" y="534267"/>
                </a:lnTo>
                <a:cubicBezTo>
                  <a:pt x="11757790" y="556023"/>
                  <a:pt x="11733301" y="572822"/>
                  <a:pt x="11704684" y="577228"/>
                </a:cubicBezTo>
                <a:cubicBezTo>
                  <a:pt x="11713489" y="586040"/>
                  <a:pt x="11734035" y="591915"/>
                  <a:pt x="11758983" y="591915"/>
                </a:cubicBezTo>
                <a:cubicBezTo>
                  <a:pt x="11804476" y="591915"/>
                  <a:pt x="11860242" y="578696"/>
                  <a:pt x="11888125" y="549322"/>
                </a:cubicBezTo>
                <a:cubicBezTo>
                  <a:pt x="11849970" y="550790"/>
                  <a:pt x="11825022" y="525822"/>
                  <a:pt x="11823554" y="492041"/>
                </a:cubicBezTo>
                <a:cubicBezTo>
                  <a:pt x="11841164" y="514072"/>
                  <a:pt x="11863177" y="522885"/>
                  <a:pt x="11888125" y="522885"/>
                </a:cubicBezTo>
                <a:cubicBezTo>
                  <a:pt x="11926648" y="522885"/>
                  <a:pt x="11959392" y="498926"/>
                  <a:pt x="11973357" y="465260"/>
                </a:cubicBezTo>
                <a:lnTo>
                  <a:pt x="11980572" y="428927"/>
                </a:lnTo>
                <a:lnTo>
                  <a:pt x="11980580" y="428969"/>
                </a:lnTo>
                <a:lnTo>
                  <a:pt x="11980580" y="428886"/>
                </a:lnTo>
                <a:lnTo>
                  <a:pt x="11980580" y="426033"/>
                </a:lnTo>
                <a:cubicBezTo>
                  <a:pt x="11980580" y="367321"/>
                  <a:pt x="11951249" y="317416"/>
                  <a:pt x="11908719" y="277785"/>
                </a:cubicBezTo>
                <a:cubicBezTo>
                  <a:pt x="11876454" y="246961"/>
                  <a:pt x="11836857" y="224944"/>
                  <a:pt x="11795794" y="207330"/>
                </a:cubicBezTo>
                <a:cubicBezTo>
                  <a:pt x="11792860" y="205863"/>
                  <a:pt x="11789927" y="204395"/>
                  <a:pt x="11785528" y="2029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de-DE"/>
              <a:t>Insert picture, add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</p:spTree>
    <p:extLst>
      <p:ext uri="{BB962C8B-B14F-4D97-AF65-F5344CB8AC3E}">
        <p14:creationId xmlns:p14="http://schemas.microsoft.com/office/powerpoint/2010/main" val="3547229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293129"/>
            <a:ext cx="11386134" cy="22159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8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E1FFD5-C787-45A8-B519-A45A733253B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900" y="611982"/>
            <a:ext cx="2267015" cy="509586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C0E9726-868E-4047-9BAB-13130637A97A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09DFC82-3A2B-4C76-8A2D-A956618A6467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114C793-E586-453F-9505-2F25158C7049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DDFFF31-0D96-455D-8D4B-AC24EBC9624B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C4F739B-0593-4B72-8505-0710AA706789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70251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1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CFD4BD67-7A96-4F02-AD8B-7157189FD6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0" t="23693" r="10370" b="21576"/>
          <a:stretch/>
        </p:blipFill>
        <p:spPr>
          <a:xfrm rot="1808368" flipV="1">
            <a:off x="4403152" y="337083"/>
            <a:ext cx="8831279" cy="4103533"/>
          </a:xfrm>
          <a:prstGeom prst="rect">
            <a:avLst/>
          </a:prstGeom>
        </p:spPr>
      </p:pic>
      <p:pic>
        <p:nvPicPr>
          <p:cNvPr id="21" name="Picture 7" descr="facebook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496801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4968013"/>
            <a:ext cx="333195" cy="333195"/>
          </a:xfrm>
          <a:prstGeom prst="rect">
            <a:avLst/>
          </a:prstGeom>
          <a:noFill/>
        </p:spPr>
      </p:pic>
      <p:pic>
        <p:nvPicPr>
          <p:cNvPr id="18" name="Picture 4" descr="SlideShar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496801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5" descr="Twitter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496801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6" descr="YouTube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4968013"/>
            <a:ext cx="333195" cy="33319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/>
        </p:nvSpPr>
        <p:spPr>
          <a:xfrm>
            <a:off x="426720" y="5810190"/>
            <a:ext cx="3293016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2 Capgemini. All rights reserved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6F47D28-10A2-4B42-807F-338834C7850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1020" y="984393"/>
            <a:ext cx="2231297" cy="501650"/>
            <a:chOff x="9550400" y="612775"/>
            <a:chExt cx="2231297" cy="50165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5107D01-0BA0-4B87-9537-95A64DA90258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1959F94-C962-4DDF-9A2A-A5BB37E50EC5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21F5C50-2688-4B19-AECF-E792EB19D60B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3E0E593-E3BD-4CF0-9539-6F4DAFC34A23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64A858C-D1AB-464D-BB1B-0EA6D10A999C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97366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inal Slide 2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0489A022-D524-4B27-A5EC-7E24500CC9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4" y="1295400"/>
            <a:ext cx="9702386" cy="6043284"/>
          </a:xfrm>
          <a:prstGeom prst="rect">
            <a:avLst/>
          </a:prstGeom>
        </p:spPr>
      </p:pic>
      <p:pic>
        <p:nvPicPr>
          <p:cNvPr id="22" name="Picture 7" descr="facebook">
            <a:hlinkClick r:id="rId3"/>
            <a:extLst>
              <a:ext uri="{FF2B5EF4-FFF2-40B4-BE49-F238E27FC236}">
                <a16:creationId xmlns:a16="http://schemas.microsoft.com/office/drawing/2014/main" id="{BCC76D32-C587-45AA-A26C-ED5B038C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720" y="5328053"/>
            <a:ext cx="333195" cy="333195"/>
          </a:xfrm>
          <a:prstGeom prst="rect">
            <a:avLst/>
          </a:prstGeom>
          <a:noFill/>
        </p:spPr>
      </p:pic>
      <p:pic>
        <p:nvPicPr>
          <p:cNvPr id="17" name="Picture 2" descr="LinkedIn">
            <a:hlinkClick r:id="rId5"/>
            <a:extLst>
              <a:ext uri="{FF2B5EF4-FFF2-40B4-BE49-F238E27FC236}">
                <a16:creationId xmlns:a16="http://schemas.microsoft.com/office/drawing/2014/main" id="{F6DF1D6E-8462-43E1-AFC5-8A5C85502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0097" y="532805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4" descr="SlideShare">
            <a:hlinkClick r:id="rId7"/>
            <a:extLst>
              <a:ext uri="{FF2B5EF4-FFF2-40B4-BE49-F238E27FC236}">
                <a16:creationId xmlns:a16="http://schemas.microsoft.com/office/drawing/2014/main" id="{DA74C6D2-FFE3-4CE8-B52D-0A33097AE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74" y="532805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5" descr="Twitter">
            <a:hlinkClick r:id="rId9"/>
            <a:extLst>
              <a:ext uri="{FF2B5EF4-FFF2-40B4-BE49-F238E27FC236}">
                <a16:creationId xmlns:a16="http://schemas.microsoft.com/office/drawing/2014/main" id="{14E10122-92A2-4535-9737-8C1BE0EE0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76851" y="532805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6" descr="YouTube">
            <a:hlinkClick r:id="rId11"/>
            <a:extLst>
              <a:ext uri="{FF2B5EF4-FFF2-40B4-BE49-F238E27FC236}">
                <a16:creationId xmlns:a16="http://schemas.microsoft.com/office/drawing/2014/main" id="{BA6EF96A-02CA-41A1-9095-358FE748667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60227" y="5328053"/>
            <a:ext cx="333195" cy="333195"/>
          </a:xfrm>
          <a:prstGeom prst="rect">
            <a:avLst/>
          </a:prstGeom>
          <a:noFill/>
        </p:spPr>
      </p:pic>
      <p:sp>
        <p:nvSpPr>
          <p:cNvPr id="57" name="Rectangle 56"/>
          <p:cNvSpPr/>
          <p:nvPr/>
        </p:nvSpPr>
        <p:spPr>
          <a:xfrm>
            <a:off x="426720" y="5840235"/>
            <a:ext cx="3221008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2 Capgemini. All rights reserved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D671EE-BA25-417F-9699-60EA1FCB92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161718" y="5747778"/>
            <a:ext cx="2231297" cy="501650"/>
            <a:chOff x="9550400" y="612775"/>
            <a:chExt cx="2231297" cy="50165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EB49955-6DC0-43F3-BA3D-B1BAD29F77C4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8805EBC-1D11-4BDD-A9FB-1FFEB452AC7C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7A3B7AA-BDD7-444E-A49A-71AFFCE4CD0D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A2DF473-CF54-4CD0-8833-9D093AAE926D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0E5BC06-233E-4261-B627-F0B2FF3F1D0B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473457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1FBB6F5A-C089-49EB-85DA-04CA2652AF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27" t="2239" r="26258" b="22547"/>
          <a:stretch/>
        </p:blipFill>
        <p:spPr>
          <a:xfrm>
            <a:off x="0" y="0"/>
            <a:ext cx="4882211" cy="6858000"/>
          </a:xfrm>
          <a:prstGeom prst="rect">
            <a:avLst/>
          </a:prstGeom>
        </p:spPr>
      </p:pic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2328B181-6CCE-4FAD-AE04-C44819FF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813" y="388188"/>
            <a:ext cx="3746971" cy="1816676"/>
          </a:xfrm>
        </p:spPr>
        <p:txBody>
          <a:bodyPr anchor="t"/>
          <a:lstStyle>
            <a:lvl1pPr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82967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0D51B9-A61A-4FDC-9E0F-E2A63E0E94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303838" y="0"/>
            <a:ext cx="6888162" cy="6858000"/>
          </a:xfr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dirty="0"/>
              <a:t>Insert Picture and send </a:t>
            </a:r>
            <a:r>
              <a:rPr lang="de-DE" dirty="0" err="1"/>
              <a:t>to</a:t>
            </a:r>
            <a:r>
              <a:rPr lang="de-DE" dirty="0"/>
              <a:t> back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5229200"/>
            <a:ext cx="6699299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933246"/>
            <a:ext cx="6699299" cy="2243691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54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4BC735E-A9A3-4A52-8056-D6C0AF2637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384" y="642523"/>
            <a:ext cx="4200525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075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 –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>
            <a:extLst>
              <a:ext uri="{FF2B5EF4-FFF2-40B4-BE49-F238E27FC236}">
                <a16:creationId xmlns:a16="http://schemas.microsoft.com/office/drawing/2014/main" id="{B313E9A5-8927-4424-8200-0B40A5FE0D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79" t="6949" r="40419" b="6949"/>
          <a:stretch/>
        </p:blipFill>
        <p:spPr bwMode="ltGray">
          <a:xfrm>
            <a:off x="0" y="0"/>
            <a:ext cx="2783632" cy="685800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1AD9EEC-2F0C-454C-A5B2-F57FD7AAED4C}"/>
              </a:ext>
            </a:extLst>
          </p:cNvPr>
          <p:cNvSpPr/>
          <p:nvPr userDrawn="1"/>
        </p:nvSpPr>
        <p:spPr bwMode="white">
          <a:xfrm>
            <a:off x="2679031" y="-1"/>
            <a:ext cx="9512969" cy="6858001"/>
          </a:xfrm>
          <a:prstGeom prst="rect">
            <a:avLst/>
          </a:prstGeom>
          <a:solidFill>
            <a:srgbClr val="0F4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0A620EA-D7F6-457A-9F84-F5DC18B217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3359696" y="2095351"/>
            <a:ext cx="5781098" cy="3975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>
            <a:lvl1pPr algn="l">
              <a:lnSpc>
                <a:spcPts val="3100"/>
              </a:lnSpc>
              <a:defRPr lang="en-US" sz="3200" b="1" cap="all" baseline="0" dirty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marL="0" lvl="0"/>
            <a:r>
              <a:rPr lang="en-US" dirty="0"/>
              <a:t>SECTION TITLE ALL CAP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74BF17-775B-4C09-81B2-C8403E37CE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9696" y="3713163"/>
            <a:ext cx="5781098" cy="2809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Short chapter description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45FEED-D34C-429E-92B0-734C0A2CA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696" y="3144837"/>
            <a:ext cx="5781098" cy="4768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cap="all" baseline="0">
                <a:solidFill>
                  <a:srgbClr val="00E6E3"/>
                </a:solidFill>
                <a:latin typeface="Ubuntu" panose="020B0504030602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ECTION SUBTITLE ALL CAPs</a:t>
            </a:r>
            <a:endParaRPr lang="en-GB" dirty="0"/>
          </a:p>
        </p:txBody>
      </p:sp>
      <p:grpSp>
        <p:nvGrpSpPr>
          <p:cNvPr id="8" name="Group 37">
            <a:extLst>
              <a:ext uri="{FF2B5EF4-FFF2-40B4-BE49-F238E27FC236}">
                <a16:creationId xmlns:a16="http://schemas.microsoft.com/office/drawing/2014/main" id="{A0131EFA-E3CA-4470-968C-AA4EF9936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559747" y="210928"/>
            <a:ext cx="413177" cy="382296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0" name="Freeform 320">
              <a:extLst>
                <a:ext uri="{FF2B5EF4-FFF2-40B4-BE49-F238E27FC236}">
                  <a16:creationId xmlns:a16="http://schemas.microsoft.com/office/drawing/2014/main" id="{FE038D48-6B7B-4F99-AD46-1A717A987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1">
              <a:extLst>
                <a:ext uri="{FF2B5EF4-FFF2-40B4-BE49-F238E27FC236}">
                  <a16:creationId xmlns:a16="http://schemas.microsoft.com/office/drawing/2014/main" id="{8099682C-62AB-45A8-A317-C09E541E1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0895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5938 0 L 4.16667E-6 0 " pathEditMode="relative" rAng="0" ptsTypes="AA">
                                      <p:cBhvr>
                                        <p:cTn id="12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69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iterate type="wd">
                                    <p:tmPct val="16667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4" presetClass="path" presetSubtype="0" decel="100000" fill="hold" grpId="1" nodeType="withEffect">
                                  <p:stCondLst>
                                    <p:cond delay="2500"/>
                                  </p:stCondLst>
                                  <p:iterate type="wd">
                                    <p:tmPct val="16667"/>
                                  </p:iterate>
                                  <p:childTnLst>
                                    <p:animMotion origin="layout" path="M -4.16667E-6 0.02616 L -4.16667E-6 -4.81481E-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19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1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7" dur="3450" fill="hold"/>
                                        <p:tgtEl>
                                          <p:spTgt spid="16"/>
                                        </p:tgtEl>
                                      </p:cBhvr>
                                      <p:by x="90990" y="9099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iterate type="wd">
                    <p:tmPct val="16667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4" presetClass="path" presetSubtype="0" decel="100000" fill="hold" nodeType="withEffect">
                  <p:stCondLst>
                    <p:cond delay="2500"/>
                  </p:stCondLst>
                  <p:iterate type="wd">
                    <p:tmPct val="16667"/>
                  </p:iterate>
                  <p:childTnLst>
                    <p:animMotion origin="layout" path="M -4.16667E-6 0.02616 L -4.16667E-6 -4.81481E-6 " pathEditMode="relative" rAng="0" ptsTypes="AA">
                      <p:cBhvr>
                        <p:cTn dur="5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319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 1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D:\My Work\Template\Icons\Social Media\LinkedIN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97" y="4968013"/>
            <a:ext cx="333195" cy="333195"/>
          </a:xfrm>
          <a:prstGeom prst="rect">
            <a:avLst/>
          </a:prstGeom>
          <a:noFill/>
        </p:spPr>
      </p:pic>
      <p:pic>
        <p:nvPicPr>
          <p:cNvPr id="18" name="Picture 4" descr="D:\My Work\Template\Icons\Social Media\SlideShare.pn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93474" y="496801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5" descr="D:\My Work\Template\Icons\Social Media\Twitter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76851" y="496801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6" descr="D:\My Work\Template\Icons\Social Media\YouTube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60227" y="496801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7" descr="D:\My Work\Template\Icons\Social Media\Facebook.pn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6720" y="4968013"/>
            <a:ext cx="333195" cy="333195"/>
          </a:xfrm>
          <a:prstGeom prst="rect">
            <a:avLst/>
          </a:prstGeom>
          <a:noFill/>
        </p:spPr>
      </p:pic>
      <p:sp>
        <p:nvSpPr>
          <p:cNvPr id="23" name="Rectangle 22"/>
          <p:cNvSpPr/>
          <p:nvPr/>
        </p:nvSpPr>
        <p:spPr>
          <a:xfrm>
            <a:off x="426720" y="5810190"/>
            <a:ext cx="3293016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2 Capgemini. All rights reserved.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CFD4BD67-7A96-4F02-AD8B-7157189FD651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4" t="21979" r="11456" b="23098"/>
          <a:stretch/>
        </p:blipFill>
        <p:spPr>
          <a:xfrm rot="1808368" flipV="1">
            <a:off x="4394821" y="417955"/>
            <a:ext cx="8667942" cy="4117924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7C241BA-1CF8-46FC-BDFB-FE16C11962B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1384" y="642523"/>
            <a:ext cx="4200525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834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Final Slide 2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id="{0489A022-D524-4B27-A5EC-7E24500CC9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214" y="1295400"/>
            <a:ext cx="9702386" cy="6043284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426720" y="5840235"/>
            <a:ext cx="3221008" cy="40011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This presentation contains information that may be privileged or confidential and is the property of the Capgemini Group.</a:t>
            </a:r>
          </a:p>
          <a:p>
            <a:pPr lvl="0">
              <a:spcAft>
                <a:spcPts val="600"/>
              </a:spcAft>
            </a:pPr>
            <a:r>
              <a:rPr lang="en-US" sz="700" noProof="0" dirty="0">
                <a:solidFill>
                  <a:schemeClr val="bg1"/>
                </a:solidFill>
                <a:latin typeface="Ubuntu" panose="020B0504030602030204" pitchFamily="34" charset="0"/>
                <a:cs typeface="Arial"/>
              </a:rPr>
              <a:t>Copyright © 2022 Capgemini. All rights reserved.</a:t>
            </a:r>
          </a:p>
        </p:txBody>
      </p:sp>
      <p:pic>
        <p:nvPicPr>
          <p:cNvPr id="17" name="Picture 2" descr="D:\My Work\Template\Icons\Social Media\LinkedIN.png">
            <a:hlinkClick r:id="rId3"/>
            <a:extLst>
              <a:ext uri="{FF2B5EF4-FFF2-40B4-BE49-F238E27FC236}">
                <a16:creationId xmlns:a16="http://schemas.microsoft.com/office/drawing/2014/main" id="{F6DF1D6E-8462-43E1-AFC5-8A5C855024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0097" y="5328053"/>
            <a:ext cx="333195" cy="333195"/>
          </a:xfrm>
          <a:prstGeom prst="rect">
            <a:avLst/>
          </a:prstGeom>
          <a:noFill/>
        </p:spPr>
      </p:pic>
      <p:pic>
        <p:nvPicPr>
          <p:cNvPr id="19" name="Picture 4" descr="D:\My Work\Template\Icons\Social Media\SlideShare.png">
            <a:hlinkClick r:id="rId5"/>
            <a:extLst>
              <a:ext uri="{FF2B5EF4-FFF2-40B4-BE49-F238E27FC236}">
                <a16:creationId xmlns:a16="http://schemas.microsoft.com/office/drawing/2014/main" id="{DA74C6D2-FFE3-4CE8-B52D-0A33097AEE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93474" y="5328053"/>
            <a:ext cx="333195" cy="333195"/>
          </a:xfrm>
          <a:prstGeom prst="rect">
            <a:avLst/>
          </a:prstGeom>
          <a:noFill/>
        </p:spPr>
      </p:pic>
      <p:pic>
        <p:nvPicPr>
          <p:cNvPr id="20" name="Picture 5" descr="D:\My Work\Template\Icons\Social Media\Twitter.png">
            <a:hlinkClick r:id="rId7"/>
            <a:extLst>
              <a:ext uri="{FF2B5EF4-FFF2-40B4-BE49-F238E27FC236}">
                <a16:creationId xmlns:a16="http://schemas.microsoft.com/office/drawing/2014/main" id="{14E10122-92A2-4535-9737-8C1BE0EE0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576851" y="5328053"/>
            <a:ext cx="333195" cy="333195"/>
          </a:xfrm>
          <a:prstGeom prst="rect">
            <a:avLst/>
          </a:prstGeom>
          <a:noFill/>
        </p:spPr>
      </p:pic>
      <p:pic>
        <p:nvPicPr>
          <p:cNvPr id="21" name="Picture 6" descr="D:\My Work\Template\Icons\Social Media\YouTube.png">
            <a:hlinkClick r:id="rId9"/>
            <a:extLst>
              <a:ext uri="{FF2B5EF4-FFF2-40B4-BE49-F238E27FC236}">
                <a16:creationId xmlns:a16="http://schemas.microsoft.com/office/drawing/2014/main" id="{BA6EF96A-02CA-41A1-9095-358FE748667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60227" y="5328053"/>
            <a:ext cx="333195" cy="333195"/>
          </a:xfrm>
          <a:prstGeom prst="rect">
            <a:avLst/>
          </a:prstGeom>
          <a:noFill/>
        </p:spPr>
      </p:pic>
      <p:pic>
        <p:nvPicPr>
          <p:cNvPr id="22" name="Picture 7" descr="D:\My Work\Template\Icons\Social Media\Facebook.png">
            <a:hlinkClick r:id="rId11"/>
            <a:extLst>
              <a:ext uri="{FF2B5EF4-FFF2-40B4-BE49-F238E27FC236}">
                <a16:creationId xmlns:a16="http://schemas.microsoft.com/office/drawing/2014/main" id="{BCC76D32-C587-45AA-A26C-ED5B038C86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6720" y="5328053"/>
            <a:ext cx="333195" cy="333195"/>
          </a:xfrm>
          <a:prstGeom prst="rect">
            <a:avLst/>
          </a:prstGeom>
          <a:noFill/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A93746CB-8F5F-4B1D-978B-056949B18A0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68083" y="5376781"/>
            <a:ext cx="4200525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7257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C89F97-744F-468E-9115-2B2E17BB9F59}"/>
              </a:ext>
            </a:extLst>
          </p:cNvPr>
          <p:cNvSpPr/>
          <p:nvPr userDrawn="1"/>
        </p:nvSpPr>
        <p:spPr>
          <a:xfrm rot="10800000" flipH="1">
            <a:off x="3990751" y="2"/>
            <a:ext cx="7208259" cy="6858000"/>
          </a:xfrm>
          <a:prstGeom prst="rect">
            <a:avLst/>
          </a:prstGeom>
          <a:gradFill>
            <a:gsLst>
              <a:gs pos="12000">
                <a:schemeClr val="bg1">
                  <a:alpha val="0"/>
                </a:schemeClr>
              </a:gs>
              <a:gs pos="72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89392FB5-BCA2-4892-BB1F-CC123D551682}"/>
              </a:ext>
            </a:extLst>
          </p:cNvPr>
          <p:cNvSpPr/>
          <p:nvPr userDrawn="1"/>
        </p:nvSpPr>
        <p:spPr>
          <a:xfrm rot="16200000" flipH="1">
            <a:off x="3986007" y="1410946"/>
            <a:ext cx="6857999" cy="4036111"/>
          </a:xfrm>
          <a:custGeom>
            <a:avLst/>
            <a:gdLst>
              <a:gd name="connsiteX0" fmla="*/ 5407628 w 5407628"/>
              <a:gd name="connsiteY0" fmla="*/ 817504 h 2454516"/>
              <a:gd name="connsiteX1" fmla="*/ 4223195 w 5407628"/>
              <a:gd name="connsiteY1" fmla="*/ 817504 h 2454516"/>
              <a:gd name="connsiteX2" fmla="*/ 2156555 w 5407628"/>
              <a:gd name="connsiteY2" fmla="*/ 81319 h 2454516"/>
              <a:gd name="connsiteX3" fmla="*/ 0 w 5407628"/>
              <a:gd name="connsiteY3" fmla="*/ 434544 h 2454516"/>
              <a:gd name="connsiteX4" fmla="*/ 0 w 5407628"/>
              <a:gd name="connsiteY4" fmla="*/ 2454516 h 2454516"/>
              <a:gd name="connsiteX5" fmla="*/ 5407628 w 5407628"/>
              <a:gd name="connsiteY5" fmla="*/ 2454516 h 245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7628" h="2454516">
                <a:moveTo>
                  <a:pt x="5407628" y="817504"/>
                </a:moveTo>
                <a:cubicBezTo>
                  <a:pt x="5407628" y="817504"/>
                  <a:pt x="4648200" y="-274280"/>
                  <a:pt x="4223195" y="817504"/>
                </a:cubicBezTo>
                <a:cubicBezTo>
                  <a:pt x="3798189" y="1909289"/>
                  <a:pt x="2809875" y="1300504"/>
                  <a:pt x="2156555" y="81319"/>
                </a:cubicBezTo>
                <a:cubicBezTo>
                  <a:pt x="865918" y="-225448"/>
                  <a:pt x="0" y="434544"/>
                  <a:pt x="0" y="434544"/>
                </a:cubicBezTo>
                <a:lnTo>
                  <a:pt x="0" y="2454516"/>
                </a:lnTo>
                <a:lnTo>
                  <a:pt x="5407628" y="2454516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417B04-36B7-4A74-A9F2-34C9ACB11DE5}"/>
              </a:ext>
            </a:extLst>
          </p:cNvPr>
          <p:cNvSpPr/>
          <p:nvPr userDrawn="1"/>
        </p:nvSpPr>
        <p:spPr>
          <a:xfrm flipH="1">
            <a:off x="9377774" y="0"/>
            <a:ext cx="28142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8AF6A7-3828-451D-898F-FCCCD266A553}"/>
              </a:ext>
            </a:extLst>
          </p:cNvPr>
          <p:cNvSpPr/>
          <p:nvPr userDrawn="1"/>
        </p:nvSpPr>
        <p:spPr>
          <a:xfrm flipH="1">
            <a:off x="7383686" y="0"/>
            <a:ext cx="2002539" cy="6858000"/>
          </a:xfrm>
          <a:prstGeom prst="rect">
            <a:avLst/>
          </a:prstGeom>
          <a:gradFill>
            <a:gsLst>
              <a:gs pos="100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tângulo 43">
            <a:extLst>
              <a:ext uri="{FF2B5EF4-FFF2-40B4-BE49-F238E27FC236}">
                <a16:creationId xmlns:a16="http://schemas.microsoft.com/office/drawing/2014/main" id="{62E7B406-532B-48B2-9EF6-474AA2BF81D1}"/>
              </a:ext>
            </a:extLst>
          </p:cNvPr>
          <p:cNvSpPr/>
          <p:nvPr userDrawn="1"/>
        </p:nvSpPr>
        <p:spPr>
          <a:xfrm>
            <a:off x="11798156" y="6650661"/>
            <a:ext cx="129844" cy="123111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Graphic 13">
            <a:extLst>
              <a:ext uri="{FF2B5EF4-FFF2-40B4-BE49-F238E27FC236}">
                <a16:creationId xmlns:a16="http://schemas.microsoft.com/office/drawing/2014/main" id="{A081D881-7845-4652-9B42-FFB16AA19DE5}"/>
              </a:ext>
            </a:extLst>
          </p:cNvPr>
          <p:cNvSpPr>
            <a:spLocks noChangeAspect="1"/>
          </p:cNvSpPr>
          <p:nvPr userDrawn="1"/>
        </p:nvSpPr>
        <p:spPr>
          <a:xfrm>
            <a:off x="992990" y="519528"/>
            <a:ext cx="5625847" cy="6192688"/>
          </a:xfrm>
          <a:custGeom>
            <a:avLst/>
            <a:gdLst>
              <a:gd name="connsiteX0" fmla="*/ 36195 w 8117205"/>
              <a:gd name="connsiteY0" fmla="*/ 4710199 h 4710198"/>
              <a:gd name="connsiteX1" fmla="*/ 0 w 8117205"/>
              <a:gd name="connsiteY1" fmla="*/ 4697817 h 4710198"/>
              <a:gd name="connsiteX2" fmla="*/ 538163 w 8117205"/>
              <a:gd name="connsiteY2" fmla="*/ 3739602 h 4710198"/>
              <a:gd name="connsiteX3" fmla="*/ 1340168 w 8117205"/>
              <a:gd name="connsiteY3" fmla="*/ 2915689 h 4710198"/>
              <a:gd name="connsiteX4" fmla="*/ 2613660 w 8117205"/>
              <a:gd name="connsiteY4" fmla="*/ 2190837 h 4710198"/>
              <a:gd name="connsiteX5" fmla="*/ 2621280 w 8117205"/>
              <a:gd name="connsiteY5" fmla="*/ 2187979 h 4710198"/>
              <a:gd name="connsiteX6" fmla="*/ 2628900 w 8117205"/>
              <a:gd name="connsiteY6" fmla="*/ 2191789 h 4710198"/>
              <a:gd name="connsiteX7" fmla="*/ 4513898 w 8117205"/>
              <a:gd name="connsiteY7" fmla="*/ 2830917 h 4710198"/>
              <a:gd name="connsiteX8" fmla="*/ 5841683 w 8117205"/>
              <a:gd name="connsiteY8" fmla="*/ 2599459 h 4710198"/>
              <a:gd name="connsiteX9" fmla="*/ 6102668 w 8117205"/>
              <a:gd name="connsiteY9" fmla="*/ 1288819 h 4710198"/>
              <a:gd name="connsiteX10" fmla="*/ 6256020 w 8117205"/>
              <a:gd name="connsiteY10" fmla="*/ 204874 h 4710198"/>
              <a:gd name="connsiteX11" fmla="*/ 7391400 w 8117205"/>
              <a:gd name="connsiteY11" fmla="*/ 43901 h 4710198"/>
              <a:gd name="connsiteX12" fmla="*/ 8117205 w 8117205"/>
              <a:gd name="connsiteY12" fmla="*/ 242021 h 4710198"/>
              <a:gd name="connsiteX13" fmla="*/ 8102918 w 8117205"/>
              <a:gd name="connsiteY13" fmla="*/ 277264 h 4710198"/>
              <a:gd name="connsiteX14" fmla="*/ 7384733 w 8117205"/>
              <a:gd name="connsiteY14" fmla="*/ 82001 h 4710198"/>
              <a:gd name="connsiteX15" fmla="*/ 6281738 w 8117205"/>
              <a:gd name="connsiteY15" fmla="*/ 233449 h 4710198"/>
              <a:gd name="connsiteX16" fmla="*/ 6139815 w 8117205"/>
              <a:gd name="connsiteY16" fmla="*/ 1279294 h 4710198"/>
              <a:gd name="connsiteX17" fmla="*/ 6187440 w 8117205"/>
              <a:gd name="connsiteY17" fmla="*/ 2101302 h 4710198"/>
              <a:gd name="connsiteX18" fmla="*/ 5866448 w 8117205"/>
              <a:gd name="connsiteY18" fmla="*/ 2629939 h 4710198"/>
              <a:gd name="connsiteX19" fmla="*/ 4510088 w 8117205"/>
              <a:gd name="connsiteY19" fmla="*/ 2869969 h 4710198"/>
              <a:gd name="connsiteX20" fmla="*/ 2620328 w 8117205"/>
              <a:gd name="connsiteY20" fmla="*/ 2230842 h 4710198"/>
              <a:gd name="connsiteX21" fmla="*/ 568643 w 8117205"/>
              <a:gd name="connsiteY21" fmla="*/ 3763414 h 4710198"/>
              <a:gd name="connsiteX22" fmla="*/ 36195 w 8117205"/>
              <a:gd name="connsiteY22" fmla="*/ 4710199 h 4710198"/>
              <a:gd name="connsiteX0" fmla="*/ 36195 w 8117205"/>
              <a:gd name="connsiteY0" fmla="*/ 4710199 h 4710199"/>
              <a:gd name="connsiteX1" fmla="*/ 0 w 8117205"/>
              <a:gd name="connsiteY1" fmla="*/ 4697817 h 4710199"/>
              <a:gd name="connsiteX2" fmla="*/ 538163 w 8117205"/>
              <a:gd name="connsiteY2" fmla="*/ 3739602 h 4710199"/>
              <a:gd name="connsiteX3" fmla="*/ 1340168 w 8117205"/>
              <a:gd name="connsiteY3" fmla="*/ 2915689 h 4710199"/>
              <a:gd name="connsiteX4" fmla="*/ 2613660 w 8117205"/>
              <a:gd name="connsiteY4" fmla="*/ 2190837 h 4710199"/>
              <a:gd name="connsiteX5" fmla="*/ 2621280 w 8117205"/>
              <a:gd name="connsiteY5" fmla="*/ 2187979 h 4710199"/>
              <a:gd name="connsiteX6" fmla="*/ 2628900 w 8117205"/>
              <a:gd name="connsiteY6" fmla="*/ 2191789 h 4710199"/>
              <a:gd name="connsiteX7" fmla="*/ 4513898 w 8117205"/>
              <a:gd name="connsiteY7" fmla="*/ 2830917 h 4710199"/>
              <a:gd name="connsiteX8" fmla="*/ 5841683 w 8117205"/>
              <a:gd name="connsiteY8" fmla="*/ 2599459 h 4710199"/>
              <a:gd name="connsiteX9" fmla="*/ 6102668 w 8117205"/>
              <a:gd name="connsiteY9" fmla="*/ 1288819 h 4710199"/>
              <a:gd name="connsiteX10" fmla="*/ 6256020 w 8117205"/>
              <a:gd name="connsiteY10" fmla="*/ 204874 h 4710199"/>
              <a:gd name="connsiteX11" fmla="*/ 7391400 w 8117205"/>
              <a:gd name="connsiteY11" fmla="*/ 43901 h 4710199"/>
              <a:gd name="connsiteX12" fmla="*/ 8117205 w 8117205"/>
              <a:gd name="connsiteY12" fmla="*/ 242021 h 4710199"/>
              <a:gd name="connsiteX13" fmla="*/ 7384733 w 8117205"/>
              <a:gd name="connsiteY13" fmla="*/ 82001 h 4710199"/>
              <a:gd name="connsiteX14" fmla="*/ 6281738 w 8117205"/>
              <a:gd name="connsiteY14" fmla="*/ 233449 h 4710199"/>
              <a:gd name="connsiteX15" fmla="*/ 6139815 w 8117205"/>
              <a:gd name="connsiteY15" fmla="*/ 1279294 h 4710199"/>
              <a:gd name="connsiteX16" fmla="*/ 6187440 w 8117205"/>
              <a:gd name="connsiteY16" fmla="*/ 2101302 h 4710199"/>
              <a:gd name="connsiteX17" fmla="*/ 5866448 w 8117205"/>
              <a:gd name="connsiteY17" fmla="*/ 2629939 h 4710199"/>
              <a:gd name="connsiteX18" fmla="*/ 4510088 w 8117205"/>
              <a:gd name="connsiteY18" fmla="*/ 2869969 h 4710199"/>
              <a:gd name="connsiteX19" fmla="*/ 2620328 w 8117205"/>
              <a:gd name="connsiteY19" fmla="*/ 2230842 h 4710199"/>
              <a:gd name="connsiteX20" fmla="*/ 568643 w 8117205"/>
              <a:gd name="connsiteY20" fmla="*/ 3763414 h 4710199"/>
              <a:gd name="connsiteX21" fmla="*/ 36195 w 8117205"/>
              <a:gd name="connsiteY21" fmla="*/ 4710199 h 4710199"/>
              <a:gd name="connsiteX0" fmla="*/ 36195 w 7528033"/>
              <a:gd name="connsiteY0" fmla="*/ 4673434 h 4673434"/>
              <a:gd name="connsiteX1" fmla="*/ 0 w 7528033"/>
              <a:gd name="connsiteY1" fmla="*/ 4661052 h 4673434"/>
              <a:gd name="connsiteX2" fmla="*/ 538163 w 7528033"/>
              <a:gd name="connsiteY2" fmla="*/ 3702837 h 4673434"/>
              <a:gd name="connsiteX3" fmla="*/ 1340168 w 7528033"/>
              <a:gd name="connsiteY3" fmla="*/ 2878924 h 4673434"/>
              <a:gd name="connsiteX4" fmla="*/ 2613660 w 7528033"/>
              <a:gd name="connsiteY4" fmla="*/ 2154072 h 4673434"/>
              <a:gd name="connsiteX5" fmla="*/ 2621280 w 7528033"/>
              <a:gd name="connsiteY5" fmla="*/ 2151214 h 4673434"/>
              <a:gd name="connsiteX6" fmla="*/ 2628900 w 7528033"/>
              <a:gd name="connsiteY6" fmla="*/ 2155024 h 4673434"/>
              <a:gd name="connsiteX7" fmla="*/ 4513898 w 7528033"/>
              <a:gd name="connsiteY7" fmla="*/ 2794152 h 4673434"/>
              <a:gd name="connsiteX8" fmla="*/ 5841683 w 7528033"/>
              <a:gd name="connsiteY8" fmla="*/ 2562694 h 4673434"/>
              <a:gd name="connsiteX9" fmla="*/ 6102668 w 7528033"/>
              <a:gd name="connsiteY9" fmla="*/ 1252054 h 4673434"/>
              <a:gd name="connsiteX10" fmla="*/ 6256020 w 7528033"/>
              <a:gd name="connsiteY10" fmla="*/ 168109 h 4673434"/>
              <a:gd name="connsiteX11" fmla="*/ 7391400 w 7528033"/>
              <a:gd name="connsiteY11" fmla="*/ 7136 h 4673434"/>
              <a:gd name="connsiteX12" fmla="*/ 7384733 w 7528033"/>
              <a:gd name="connsiteY12" fmla="*/ 45236 h 4673434"/>
              <a:gd name="connsiteX13" fmla="*/ 6281738 w 7528033"/>
              <a:gd name="connsiteY13" fmla="*/ 196684 h 4673434"/>
              <a:gd name="connsiteX14" fmla="*/ 6139815 w 7528033"/>
              <a:gd name="connsiteY14" fmla="*/ 1242529 h 4673434"/>
              <a:gd name="connsiteX15" fmla="*/ 6187440 w 7528033"/>
              <a:gd name="connsiteY15" fmla="*/ 2064537 h 4673434"/>
              <a:gd name="connsiteX16" fmla="*/ 5866448 w 7528033"/>
              <a:gd name="connsiteY16" fmla="*/ 2593174 h 4673434"/>
              <a:gd name="connsiteX17" fmla="*/ 4510088 w 7528033"/>
              <a:gd name="connsiteY17" fmla="*/ 2833204 h 4673434"/>
              <a:gd name="connsiteX18" fmla="*/ 2620328 w 7528033"/>
              <a:gd name="connsiteY18" fmla="*/ 2194077 h 4673434"/>
              <a:gd name="connsiteX19" fmla="*/ 568643 w 7528033"/>
              <a:gd name="connsiteY19" fmla="*/ 3726649 h 4673434"/>
              <a:gd name="connsiteX20" fmla="*/ 36195 w 7528033"/>
              <a:gd name="connsiteY20" fmla="*/ 4673434 h 4673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528033" h="4673434">
                <a:moveTo>
                  <a:pt x="36195" y="4673434"/>
                </a:moveTo>
                <a:lnTo>
                  <a:pt x="0" y="4661052"/>
                </a:lnTo>
                <a:cubicBezTo>
                  <a:pt x="953" y="4656289"/>
                  <a:pt x="145733" y="4224807"/>
                  <a:pt x="538163" y="3702837"/>
                </a:cubicBezTo>
                <a:cubicBezTo>
                  <a:pt x="768668" y="3396132"/>
                  <a:pt x="1038225" y="3118954"/>
                  <a:pt x="1340168" y="2878924"/>
                </a:cubicBezTo>
                <a:cubicBezTo>
                  <a:pt x="1717358" y="2577934"/>
                  <a:pt x="2145983" y="2334094"/>
                  <a:pt x="2613660" y="2154072"/>
                </a:cubicBezTo>
                <a:lnTo>
                  <a:pt x="2621280" y="2151214"/>
                </a:lnTo>
                <a:lnTo>
                  <a:pt x="2628900" y="2155024"/>
                </a:lnTo>
                <a:cubicBezTo>
                  <a:pt x="3289935" y="2497924"/>
                  <a:pt x="3941445" y="2718904"/>
                  <a:pt x="4513898" y="2794152"/>
                </a:cubicBezTo>
                <a:cubicBezTo>
                  <a:pt x="5095875" y="2871304"/>
                  <a:pt x="5554980" y="2790341"/>
                  <a:pt x="5841683" y="2562694"/>
                </a:cubicBezTo>
                <a:cubicBezTo>
                  <a:pt x="6168390" y="2302662"/>
                  <a:pt x="6257925" y="1849271"/>
                  <a:pt x="6102668" y="1252054"/>
                </a:cubicBezTo>
                <a:cubicBezTo>
                  <a:pt x="5969318" y="741514"/>
                  <a:pt x="6020753" y="376706"/>
                  <a:pt x="6256020" y="168109"/>
                </a:cubicBezTo>
                <a:cubicBezTo>
                  <a:pt x="6480810" y="-31916"/>
                  <a:pt x="7203281" y="27615"/>
                  <a:pt x="7391400" y="7136"/>
                </a:cubicBezTo>
                <a:cubicBezTo>
                  <a:pt x="7579519" y="-13343"/>
                  <a:pt x="7569677" y="13645"/>
                  <a:pt x="7384733" y="45236"/>
                </a:cubicBezTo>
                <a:cubicBezTo>
                  <a:pt x="7199789" y="76827"/>
                  <a:pt x="6550343" y="-41441"/>
                  <a:pt x="6281738" y="196684"/>
                </a:cubicBezTo>
                <a:cubicBezTo>
                  <a:pt x="6058853" y="394804"/>
                  <a:pt x="6011228" y="747229"/>
                  <a:pt x="6139815" y="1242529"/>
                </a:cubicBezTo>
                <a:cubicBezTo>
                  <a:pt x="6221730" y="1557806"/>
                  <a:pt x="6237923" y="1834031"/>
                  <a:pt x="6187440" y="2064537"/>
                </a:cubicBezTo>
                <a:cubicBezTo>
                  <a:pt x="6138863" y="2283612"/>
                  <a:pt x="6031230" y="2460777"/>
                  <a:pt x="5866448" y="2593174"/>
                </a:cubicBezTo>
                <a:cubicBezTo>
                  <a:pt x="5572125" y="2828441"/>
                  <a:pt x="5102543" y="2911309"/>
                  <a:pt x="4510088" y="2833204"/>
                </a:cubicBezTo>
                <a:cubicBezTo>
                  <a:pt x="3935730" y="2757004"/>
                  <a:pt x="3282315" y="2536024"/>
                  <a:pt x="2620328" y="2194077"/>
                </a:cubicBezTo>
                <a:cubicBezTo>
                  <a:pt x="1574483" y="2598889"/>
                  <a:pt x="927735" y="3251352"/>
                  <a:pt x="568643" y="3726649"/>
                </a:cubicBezTo>
                <a:cubicBezTo>
                  <a:pt x="180023" y="4242904"/>
                  <a:pt x="37148" y="4668672"/>
                  <a:pt x="36195" y="4673434"/>
                </a:cubicBezTo>
                <a:close/>
              </a:path>
            </a:pathLst>
          </a:custGeom>
          <a:gradFill>
            <a:gsLst>
              <a:gs pos="99000">
                <a:schemeClr val="accent2">
                  <a:alpha val="0"/>
                </a:schemeClr>
              </a:gs>
              <a:gs pos="32000">
                <a:srgbClr val="12ABDB">
                  <a:alpha val="17000"/>
                </a:srgbClr>
              </a:gs>
              <a:gs pos="17000">
                <a:schemeClr val="accent2">
                  <a:alpha val="0"/>
                </a:schemeClr>
              </a:gs>
              <a:gs pos="49000">
                <a:srgbClr val="12ABDB"/>
              </a:gs>
              <a:gs pos="70000">
                <a:schemeClr val="accent2"/>
              </a:gs>
            </a:gsLst>
            <a:lin ang="162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>
              <a:solidFill>
                <a:prstClr val="black"/>
              </a:solidFill>
            </a:endParaRPr>
          </a:p>
        </p:txBody>
      </p:sp>
      <p:pic>
        <p:nvPicPr>
          <p:cNvPr id="13" name="Picture 2" descr="Automotive event">
            <a:extLst>
              <a:ext uri="{FF2B5EF4-FFF2-40B4-BE49-F238E27FC236}">
                <a16:creationId xmlns:a16="http://schemas.microsoft.com/office/drawing/2014/main" id="{6A0E5968-0C6D-41C3-A765-2A488FF2F3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99842" y="1216239"/>
            <a:ext cx="8852297" cy="4977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FF3494B1-2818-4358-A927-2234FF731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3142" y="239007"/>
            <a:ext cx="2619476" cy="106214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4FE84C4-553C-44A2-B64E-364C1EE9EDFE}"/>
              </a:ext>
            </a:extLst>
          </p:cNvPr>
          <p:cNvCxnSpPr/>
          <p:nvPr userDrawn="1"/>
        </p:nvCxnSpPr>
        <p:spPr>
          <a:xfrm>
            <a:off x="10016383" y="465282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F7429327-FCEF-4E49-B945-8C14A22EF0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15670" y="465282"/>
            <a:ext cx="1022024" cy="58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233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45499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457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26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 Full Pictur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92814EB-708F-421C-9F3F-E5C7B767B6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205289 w 12192000"/>
              <a:gd name="connsiteY0" fmla="*/ 966629 h 6858000"/>
              <a:gd name="connsiteX1" fmla="*/ 10155045 w 12192000"/>
              <a:gd name="connsiteY1" fmla="*/ 1089100 h 6858000"/>
              <a:gd name="connsiteX2" fmla="*/ 10129923 w 12192000"/>
              <a:gd name="connsiteY2" fmla="*/ 1057697 h 6858000"/>
              <a:gd name="connsiteX3" fmla="*/ 10205289 w 12192000"/>
              <a:gd name="connsiteY3" fmla="*/ 966629 h 6858000"/>
              <a:gd name="connsiteX4" fmla="*/ 10359163 w 12192000"/>
              <a:gd name="connsiteY4" fmla="*/ 768791 h 6858000"/>
              <a:gd name="connsiteX5" fmla="*/ 10381145 w 12192000"/>
              <a:gd name="connsiteY5" fmla="*/ 803334 h 6858000"/>
              <a:gd name="connsiteX6" fmla="*/ 10330900 w 12192000"/>
              <a:gd name="connsiteY6" fmla="*/ 875561 h 6858000"/>
              <a:gd name="connsiteX7" fmla="*/ 10359163 w 12192000"/>
              <a:gd name="connsiteY7" fmla="*/ 768791 h 6858000"/>
              <a:gd name="connsiteX8" fmla="*/ 11203898 w 12192000"/>
              <a:gd name="connsiteY8" fmla="*/ 658881 h 6858000"/>
              <a:gd name="connsiteX9" fmla="*/ 11178776 w 12192000"/>
              <a:gd name="connsiteY9" fmla="*/ 684003 h 6858000"/>
              <a:gd name="connsiteX10" fmla="*/ 11203898 w 12192000"/>
              <a:gd name="connsiteY10" fmla="*/ 709126 h 6858000"/>
              <a:gd name="connsiteX11" fmla="*/ 11229020 w 12192000"/>
              <a:gd name="connsiteY11" fmla="*/ 684003 h 6858000"/>
              <a:gd name="connsiteX12" fmla="*/ 11203898 w 12192000"/>
              <a:gd name="connsiteY12" fmla="*/ 658881 h 6858000"/>
              <a:gd name="connsiteX13" fmla="*/ 10842765 w 12192000"/>
              <a:gd name="connsiteY13" fmla="*/ 646320 h 6858000"/>
              <a:gd name="connsiteX14" fmla="*/ 10817643 w 12192000"/>
              <a:gd name="connsiteY14" fmla="*/ 674583 h 6858000"/>
              <a:gd name="connsiteX15" fmla="*/ 10842765 w 12192000"/>
              <a:gd name="connsiteY15" fmla="*/ 699705 h 6858000"/>
              <a:gd name="connsiteX16" fmla="*/ 10867887 w 12192000"/>
              <a:gd name="connsiteY16" fmla="*/ 671442 h 6858000"/>
              <a:gd name="connsiteX17" fmla="*/ 10842765 w 12192000"/>
              <a:gd name="connsiteY17" fmla="*/ 646320 h 6858000"/>
              <a:gd name="connsiteX18" fmla="*/ 9570952 w 12192000"/>
              <a:gd name="connsiteY18" fmla="*/ 621198 h 6858000"/>
              <a:gd name="connsiteX19" fmla="*/ 9420219 w 12192000"/>
              <a:gd name="connsiteY19" fmla="*/ 806475 h 6858000"/>
              <a:gd name="connsiteX20" fmla="*/ 9545830 w 12192000"/>
              <a:gd name="connsiteY20" fmla="*/ 969769 h 6858000"/>
              <a:gd name="connsiteX21" fmla="*/ 9665161 w 12192000"/>
              <a:gd name="connsiteY21" fmla="*/ 894402 h 6858000"/>
              <a:gd name="connsiteX22" fmla="*/ 9724826 w 12192000"/>
              <a:gd name="connsiteY22" fmla="*/ 954068 h 6858000"/>
              <a:gd name="connsiteX23" fmla="*/ 9797053 w 12192000"/>
              <a:gd name="connsiteY23" fmla="*/ 900683 h 6858000"/>
              <a:gd name="connsiteX24" fmla="*/ 9847297 w 12192000"/>
              <a:gd name="connsiteY24" fmla="*/ 954068 h 6858000"/>
              <a:gd name="connsiteX25" fmla="*/ 9894401 w 12192000"/>
              <a:gd name="connsiteY25" fmla="*/ 928946 h 6858000"/>
              <a:gd name="connsiteX26" fmla="*/ 9947786 w 12192000"/>
              <a:gd name="connsiteY26" fmla="*/ 1092240 h 6858000"/>
              <a:gd name="connsiteX27" fmla="*/ 9935225 w 12192000"/>
              <a:gd name="connsiteY27" fmla="*/ 957208 h 6858000"/>
              <a:gd name="connsiteX28" fmla="*/ 9985470 w 12192000"/>
              <a:gd name="connsiteY28" fmla="*/ 775072 h 6858000"/>
              <a:gd name="connsiteX29" fmla="*/ 10013732 w 12192000"/>
              <a:gd name="connsiteY29" fmla="*/ 828457 h 6858000"/>
              <a:gd name="connsiteX30" fmla="*/ 10007452 w 12192000"/>
              <a:gd name="connsiteY30" fmla="*/ 875561 h 6858000"/>
              <a:gd name="connsiteX31" fmla="*/ 9944646 w 12192000"/>
              <a:gd name="connsiteY31" fmla="*/ 935226 h 6858000"/>
              <a:gd name="connsiteX32" fmla="*/ 9969768 w 12192000"/>
              <a:gd name="connsiteY32" fmla="*/ 954068 h 6858000"/>
              <a:gd name="connsiteX33" fmla="*/ 10045135 w 12192000"/>
              <a:gd name="connsiteY33" fmla="*/ 878701 h 6858000"/>
              <a:gd name="connsiteX34" fmla="*/ 10092239 w 12192000"/>
              <a:gd name="connsiteY34" fmla="*/ 844158 h 6858000"/>
              <a:gd name="connsiteX35" fmla="*/ 10092239 w 12192000"/>
              <a:gd name="connsiteY35" fmla="*/ 859859 h 6858000"/>
              <a:gd name="connsiteX36" fmla="*/ 10148764 w 12192000"/>
              <a:gd name="connsiteY36" fmla="*/ 938366 h 6858000"/>
              <a:gd name="connsiteX37" fmla="*/ 10208430 w 12192000"/>
              <a:gd name="connsiteY37" fmla="*/ 891262 h 6858000"/>
              <a:gd name="connsiteX38" fmla="*/ 10211570 w 12192000"/>
              <a:gd name="connsiteY38" fmla="*/ 935226 h 6858000"/>
              <a:gd name="connsiteX39" fmla="*/ 10098520 w 12192000"/>
              <a:gd name="connsiteY39" fmla="*/ 1057697 h 6858000"/>
              <a:gd name="connsiteX40" fmla="*/ 10158185 w 12192000"/>
              <a:gd name="connsiteY40" fmla="*/ 1120503 h 6858000"/>
              <a:gd name="connsiteX41" fmla="*/ 10252393 w 12192000"/>
              <a:gd name="connsiteY41" fmla="*/ 947787 h 6858000"/>
              <a:gd name="connsiteX42" fmla="*/ 10315199 w 12192000"/>
              <a:gd name="connsiteY42" fmla="*/ 919525 h 6858000"/>
              <a:gd name="connsiteX43" fmla="*/ 10381145 w 12192000"/>
              <a:gd name="connsiteY43" fmla="*/ 954068 h 6858000"/>
              <a:gd name="connsiteX44" fmla="*/ 10481634 w 12192000"/>
              <a:gd name="connsiteY44" fmla="*/ 884982 h 6858000"/>
              <a:gd name="connsiteX45" fmla="*/ 10513037 w 12192000"/>
              <a:gd name="connsiteY45" fmla="*/ 954068 h 6858000"/>
              <a:gd name="connsiteX46" fmla="*/ 10578983 w 12192000"/>
              <a:gd name="connsiteY46" fmla="*/ 778212 h 6858000"/>
              <a:gd name="connsiteX47" fmla="*/ 10632367 w 12192000"/>
              <a:gd name="connsiteY47" fmla="*/ 969769 h 6858000"/>
              <a:gd name="connsiteX48" fmla="*/ 10704594 w 12192000"/>
              <a:gd name="connsiteY48" fmla="*/ 800194 h 6858000"/>
              <a:gd name="connsiteX49" fmla="*/ 10767400 w 12192000"/>
              <a:gd name="connsiteY49" fmla="*/ 954068 h 6858000"/>
              <a:gd name="connsiteX50" fmla="*/ 10830205 w 12192000"/>
              <a:gd name="connsiteY50" fmla="*/ 866140 h 6858000"/>
              <a:gd name="connsiteX51" fmla="*/ 10893011 w 12192000"/>
              <a:gd name="connsiteY51" fmla="*/ 954068 h 6858000"/>
              <a:gd name="connsiteX52" fmla="*/ 10949536 w 12192000"/>
              <a:gd name="connsiteY52" fmla="*/ 900683 h 6858000"/>
              <a:gd name="connsiteX53" fmla="*/ 10980939 w 12192000"/>
              <a:gd name="connsiteY53" fmla="*/ 954068 h 6858000"/>
              <a:gd name="connsiteX54" fmla="*/ 11059446 w 12192000"/>
              <a:gd name="connsiteY54" fmla="*/ 778212 h 6858000"/>
              <a:gd name="connsiteX55" fmla="*/ 11144233 w 12192000"/>
              <a:gd name="connsiteY55" fmla="*/ 954068 h 6858000"/>
              <a:gd name="connsiteX56" fmla="*/ 11197618 w 12192000"/>
              <a:gd name="connsiteY56" fmla="*/ 894402 h 6858000"/>
              <a:gd name="connsiteX57" fmla="*/ 11244722 w 12192000"/>
              <a:gd name="connsiteY57" fmla="*/ 954068 h 6858000"/>
              <a:gd name="connsiteX58" fmla="*/ 11272985 w 12192000"/>
              <a:gd name="connsiteY58" fmla="*/ 938366 h 6858000"/>
              <a:gd name="connsiteX59" fmla="*/ 11225881 w 12192000"/>
              <a:gd name="connsiteY59" fmla="*/ 784493 h 6858000"/>
              <a:gd name="connsiteX60" fmla="*/ 11207039 w 12192000"/>
              <a:gd name="connsiteY60" fmla="*/ 740529 h 6858000"/>
              <a:gd name="connsiteX61" fmla="*/ 11188197 w 12192000"/>
              <a:gd name="connsiteY61" fmla="*/ 743669 h 6858000"/>
              <a:gd name="connsiteX62" fmla="*/ 11147374 w 12192000"/>
              <a:gd name="connsiteY62" fmla="*/ 913244 h 6858000"/>
              <a:gd name="connsiteX63" fmla="*/ 11062586 w 12192000"/>
              <a:gd name="connsiteY63" fmla="*/ 721687 h 6858000"/>
              <a:gd name="connsiteX64" fmla="*/ 10984079 w 12192000"/>
              <a:gd name="connsiteY64" fmla="*/ 875561 h 6858000"/>
              <a:gd name="connsiteX65" fmla="*/ 10977798 w 12192000"/>
              <a:gd name="connsiteY65" fmla="*/ 803334 h 6858000"/>
              <a:gd name="connsiteX66" fmla="*/ 10980939 w 12192000"/>
              <a:gd name="connsiteY66" fmla="*/ 765651 h 6858000"/>
              <a:gd name="connsiteX67" fmla="*/ 10943255 w 12192000"/>
              <a:gd name="connsiteY67" fmla="*/ 740529 h 6858000"/>
              <a:gd name="connsiteX68" fmla="*/ 10896151 w 12192000"/>
              <a:gd name="connsiteY68" fmla="*/ 916384 h 6858000"/>
              <a:gd name="connsiteX69" fmla="*/ 10858468 w 12192000"/>
              <a:gd name="connsiteY69" fmla="*/ 790773 h 6858000"/>
              <a:gd name="connsiteX70" fmla="*/ 10820784 w 12192000"/>
              <a:gd name="connsiteY70" fmla="*/ 740529 h 6858000"/>
              <a:gd name="connsiteX71" fmla="*/ 10773680 w 12192000"/>
              <a:gd name="connsiteY71" fmla="*/ 906964 h 6858000"/>
              <a:gd name="connsiteX72" fmla="*/ 10707734 w 12192000"/>
              <a:gd name="connsiteY72" fmla="*/ 740529 h 6858000"/>
              <a:gd name="connsiteX73" fmla="*/ 10638648 w 12192000"/>
              <a:gd name="connsiteY73" fmla="*/ 897543 h 6858000"/>
              <a:gd name="connsiteX74" fmla="*/ 10578983 w 12192000"/>
              <a:gd name="connsiteY74" fmla="*/ 721687 h 6858000"/>
              <a:gd name="connsiteX75" fmla="*/ 10516177 w 12192000"/>
              <a:gd name="connsiteY75" fmla="*/ 847298 h 6858000"/>
              <a:gd name="connsiteX76" fmla="*/ 10509897 w 12192000"/>
              <a:gd name="connsiteY76" fmla="*/ 847298 h 6858000"/>
              <a:gd name="connsiteX77" fmla="*/ 10509897 w 12192000"/>
              <a:gd name="connsiteY77" fmla="*/ 809615 h 6858000"/>
              <a:gd name="connsiteX78" fmla="*/ 10475353 w 12192000"/>
              <a:gd name="connsiteY78" fmla="*/ 737388 h 6858000"/>
              <a:gd name="connsiteX79" fmla="*/ 10387426 w 12192000"/>
              <a:gd name="connsiteY79" fmla="*/ 919525 h 6858000"/>
              <a:gd name="connsiteX80" fmla="*/ 10349742 w 12192000"/>
              <a:gd name="connsiteY80" fmla="*/ 903823 h 6858000"/>
              <a:gd name="connsiteX81" fmla="*/ 10425109 w 12192000"/>
              <a:gd name="connsiteY81" fmla="*/ 800194 h 6858000"/>
              <a:gd name="connsiteX82" fmla="*/ 10365444 w 12192000"/>
              <a:gd name="connsiteY82" fmla="*/ 740529 h 6858000"/>
              <a:gd name="connsiteX83" fmla="*/ 10286937 w 12192000"/>
              <a:gd name="connsiteY83" fmla="*/ 837877 h 6858000"/>
              <a:gd name="connsiteX84" fmla="*/ 10299498 w 12192000"/>
              <a:gd name="connsiteY84" fmla="*/ 900683 h 6858000"/>
              <a:gd name="connsiteX85" fmla="*/ 10249253 w 12192000"/>
              <a:gd name="connsiteY85" fmla="*/ 922665 h 6858000"/>
              <a:gd name="connsiteX86" fmla="*/ 10239832 w 12192000"/>
              <a:gd name="connsiteY86" fmla="*/ 784493 h 6858000"/>
              <a:gd name="connsiteX87" fmla="*/ 10202149 w 12192000"/>
              <a:gd name="connsiteY87" fmla="*/ 815895 h 6858000"/>
              <a:gd name="connsiteX88" fmla="*/ 10155045 w 12192000"/>
              <a:gd name="connsiteY88" fmla="*/ 897543 h 6858000"/>
              <a:gd name="connsiteX89" fmla="*/ 10133063 w 12192000"/>
              <a:gd name="connsiteY89" fmla="*/ 863000 h 6858000"/>
              <a:gd name="connsiteX90" fmla="*/ 10236692 w 12192000"/>
              <a:gd name="connsiteY90" fmla="*/ 762511 h 6858000"/>
              <a:gd name="connsiteX91" fmla="*/ 10202149 w 12192000"/>
              <a:gd name="connsiteY91" fmla="*/ 727968 h 6858000"/>
              <a:gd name="connsiteX92" fmla="*/ 10107941 w 12192000"/>
              <a:gd name="connsiteY92" fmla="*/ 784493 h 6858000"/>
              <a:gd name="connsiteX93" fmla="*/ 10051415 w 12192000"/>
              <a:gd name="connsiteY93" fmla="*/ 841018 h 6858000"/>
              <a:gd name="connsiteX94" fmla="*/ 10051415 w 12192000"/>
              <a:gd name="connsiteY94" fmla="*/ 825316 h 6858000"/>
              <a:gd name="connsiteX95" fmla="*/ 9985470 w 12192000"/>
              <a:gd name="connsiteY95" fmla="*/ 734248 h 6858000"/>
              <a:gd name="connsiteX96" fmla="*/ 9932085 w 12192000"/>
              <a:gd name="connsiteY96" fmla="*/ 775072 h 6858000"/>
              <a:gd name="connsiteX97" fmla="*/ 9910103 w 12192000"/>
              <a:gd name="connsiteY97" fmla="*/ 740529 h 6858000"/>
              <a:gd name="connsiteX98" fmla="*/ 9884981 w 12192000"/>
              <a:gd name="connsiteY98" fmla="*/ 746809 h 6858000"/>
              <a:gd name="connsiteX99" fmla="*/ 9891261 w 12192000"/>
              <a:gd name="connsiteY99" fmla="*/ 812755 h 6858000"/>
              <a:gd name="connsiteX100" fmla="*/ 9850437 w 12192000"/>
              <a:gd name="connsiteY100" fmla="*/ 922665 h 6858000"/>
              <a:gd name="connsiteX101" fmla="*/ 9822175 w 12192000"/>
              <a:gd name="connsiteY101" fmla="*/ 800194 h 6858000"/>
              <a:gd name="connsiteX102" fmla="*/ 9809614 w 12192000"/>
              <a:gd name="connsiteY102" fmla="*/ 797054 h 6858000"/>
              <a:gd name="connsiteX103" fmla="*/ 9781351 w 12192000"/>
              <a:gd name="connsiteY103" fmla="*/ 853579 h 6858000"/>
              <a:gd name="connsiteX104" fmla="*/ 9734247 w 12192000"/>
              <a:gd name="connsiteY104" fmla="*/ 919525 h 6858000"/>
              <a:gd name="connsiteX105" fmla="*/ 9709125 w 12192000"/>
              <a:gd name="connsiteY105" fmla="*/ 878701 h 6858000"/>
              <a:gd name="connsiteX106" fmla="*/ 9819035 w 12192000"/>
              <a:gd name="connsiteY106" fmla="*/ 778212 h 6858000"/>
              <a:gd name="connsiteX107" fmla="*/ 9784492 w 12192000"/>
              <a:gd name="connsiteY107" fmla="*/ 740529 h 6858000"/>
              <a:gd name="connsiteX108" fmla="*/ 9674582 w 12192000"/>
              <a:gd name="connsiteY108" fmla="*/ 825316 h 6858000"/>
              <a:gd name="connsiteX109" fmla="*/ 9555251 w 12192000"/>
              <a:gd name="connsiteY109" fmla="*/ 925805 h 6858000"/>
              <a:gd name="connsiteX110" fmla="*/ 9473604 w 12192000"/>
              <a:gd name="connsiteY110" fmla="*/ 800194 h 6858000"/>
              <a:gd name="connsiteX111" fmla="*/ 9567812 w 12192000"/>
              <a:gd name="connsiteY111" fmla="*/ 655741 h 6858000"/>
              <a:gd name="connsiteX112" fmla="*/ 9608636 w 12192000"/>
              <a:gd name="connsiteY112" fmla="*/ 721687 h 6858000"/>
              <a:gd name="connsiteX113" fmla="*/ 9655740 w 12192000"/>
              <a:gd name="connsiteY113" fmla="*/ 687144 h 6858000"/>
              <a:gd name="connsiteX114" fmla="*/ 9570952 w 12192000"/>
              <a:gd name="connsiteY114" fmla="*/ 621198 h 6858000"/>
              <a:gd name="connsiteX115" fmla="*/ 11503938 w 12192000"/>
              <a:gd name="connsiteY115" fmla="*/ 612538 h 6858000"/>
              <a:gd name="connsiteX116" fmla="*/ 11291551 w 12192000"/>
              <a:gd name="connsiteY116" fmla="*/ 832051 h 6858000"/>
              <a:gd name="connsiteX117" fmla="*/ 11365123 w 12192000"/>
              <a:gd name="connsiteY117" fmla="*/ 940418 h 6858000"/>
              <a:gd name="connsiteX118" fmla="*/ 11440083 w 12192000"/>
              <a:gd name="connsiteY118" fmla="*/ 941808 h 6858000"/>
              <a:gd name="connsiteX119" fmla="*/ 11444304 w 12192000"/>
              <a:gd name="connsiteY119" fmla="*/ 939708 h 6858000"/>
              <a:gd name="connsiteX120" fmla="*/ 11445324 w 12192000"/>
              <a:gd name="connsiteY120" fmla="*/ 939542 h 6858000"/>
              <a:gd name="connsiteX121" fmla="*/ 11475268 w 12192000"/>
              <a:gd name="connsiteY121" fmla="*/ 924644 h 6858000"/>
              <a:gd name="connsiteX122" fmla="*/ 11494474 w 12192000"/>
              <a:gd name="connsiteY122" fmla="*/ 907542 h 6858000"/>
              <a:gd name="connsiteX123" fmla="*/ 11488753 w 12192000"/>
              <a:gd name="connsiteY123" fmla="*/ 926162 h 6858000"/>
              <a:gd name="connsiteX124" fmla="*/ 11464846 w 12192000"/>
              <a:gd name="connsiteY124" fmla="*/ 951842 h 6858000"/>
              <a:gd name="connsiteX125" fmla="*/ 11432834 w 12192000"/>
              <a:gd name="connsiteY125" fmla="*/ 964214 h 6858000"/>
              <a:gd name="connsiteX126" fmla="*/ 11433416 w 12192000"/>
              <a:gd name="connsiteY126" fmla="*/ 964508 h 6858000"/>
              <a:gd name="connsiteX127" fmla="*/ 11427416 w 12192000"/>
              <a:gd name="connsiteY127" fmla="*/ 966826 h 6858000"/>
              <a:gd name="connsiteX128" fmla="*/ 11478812 w 12192000"/>
              <a:gd name="connsiteY128" fmla="*/ 980728 h 6858000"/>
              <a:gd name="connsiteX129" fmla="*/ 11601049 w 12192000"/>
              <a:gd name="connsiteY129" fmla="*/ 940412 h 6858000"/>
              <a:gd name="connsiteX130" fmla="*/ 11600229 w 12192000"/>
              <a:gd name="connsiteY130" fmla="*/ 940299 h 6858000"/>
              <a:gd name="connsiteX131" fmla="*/ 11604054 w 12192000"/>
              <a:gd name="connsiteY131" fmla="*/ 938167 h 6858000"/>
              <a:gd name="connsiteX132" fmla="*/ 11561078 w 12192000"/>
              <a:gd name="connsiteY132" fmla="*/ 923772 h 6858000"/>
              <a:gd name="connsiteX133" fmla="*/ 11546930 w 12192000"/>
              <a:gd name="connsiteY133" fmla="*/ 891807 h 6858000"/>
              <a:gd name="connsiteX134" fmla="*/ 11567885 w 12192000"/>
              <a:gd name="connsiteY134" fmla="*/ 908611 h 6858000"/>
              <a:gd name="connsiteX135" fmla="*/ 11601049 w 12192000"/>
              <a:gd name="connsiteY135" fmla="*/ 915389 h 6858000"/>
              <a:gd name="connsiteX136" fmla="*/ 11650104 w 12192000"/>
              <a:gd name="connsiteY136" fmla="*/ 900067 h 6858000"/>
              <a:gd name="connsiteX137" fmla="*/ 11650828 w 12192000"/>
              <a:gd name="connsiteY137" fmla="*/ 899169 h 6858000"/>
              <a:gd name="connsiteX138" fmla="*/ 11652427 w 12192000"/>
              <a:gd name="connsiteY138" fmla="*/ 898382 h 6858000"/>
              <a:gd name="connsiteX139" fmla="*/ 11683608 w 12192000"/>
              <a:gd name="connsiteY139" fmla="*/ 859705 h 6858000"/>
              <a:gd name="connsiteX140" fmla="*/ 11690343 w 12192000"/>
              <a:gd name="connsiteY140" fmla="*/ 825792 h 6858000"/>
              <a:gd name="connsiteX141" fmla="*/ 11690350 w 12192000"/>
              <a:gd name="connsiteY141" fmla="*/ 825831 h 6858000"/>
              <a:gd name="connsiteX142" fmla="*/ 11690350 w 12192000"/>
              <a:gd name="connsiteY142" fmla="*/ 825754 h 6858000"/>
              <a:gd name="connsiteX143" fmla="*/ 11690350 w 12192000"/>
              <a:gd name="connsiteY143" fmla="*/ 823091 h 6858000"/>
              <a:gd name="connsiteX144" fmla="*/ 11623276 w 12192000"/>
              <a:gd name="connsiteY144" fmla="*/ 684719 h 6858000"/>
              <a:gd name="connsiteX145" fmla="*/ 11573655 w 12192000"/>
              <a:gd name="connsiteY145" fmla="*/ 647215 h 6858000"/>
              <a:gd name="connsiteX146" fmla="*/ 11570681 w 12192000"/>
              <a:gd name="connsiteY146" fmla="*/ 645708 h 6858000"/>
              <a:gd name="connsiteX147" fmla="*/ 11570221 w 12192000"/>
              <a:gd name="connsiteY147" fmla="*/ 645361 h 6858000"/>
              <a:gd name="connsiteX148" fmla="*/ 11513655 w 12192000"/>
              <a:gd name="connsiteY148" fmla="*/ 616706 h 6858000"/>
              <a:gd name="connsiteX149" fmla="*/ 11503938 w 12192000"/>
              <a:gd name="connsiteY149" fmla="*/ 612538 h 6858000"/>
              <a:gd name="connsiteX150" fmla="*/ 0 w 12192000"/>
              <a:gd name="connsiteY150" fmla="*/ 0 h 6858000"/>
              <a:gd name="connsiteX151" fmla="*/ 12192000 w 12192000"/>
              <a:gd name="connsiteY151" fmla="*/ 0 h 6858000"/>
              <a:gd name="connsiteX152" fmla="*/ 12192000 w 12192000"/>
              <a:gd name="connsiteY152" fmla="*/ 6858000 h 6858000"/>
              <a:gd name="connsiteX153" fmla="*/ 0 w 12192000"/>
              <a:gd name="connsiteY15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12192000" h="6858000">
                <a:moveTo>
                  <a:pt x="10205289" y="966629"/>
                </a:moveTo>
                <a:cubicBezTo>
                  <a:pt x="10205289" y="1067118"/>
                  <a:pt x="10180167" y="1089100"/>
                  <a:pt x="10155045" y="1089100"/>
                </a:cubicBezTo>
                <a:cubicBezTo>
                  <a:pt x="10139343" y="1089100"/>
                  <a:pt x="10129923" y="1073399"/>
                  <a:pt x="10129923" y="1057697"/>
                </a:cubicBezTo>
                <a:cubicBezTo>
                  <a:pt x="10129923" y="1013733"/>
                  <a:pt x="10164466" y="988611"/>
                  <a:pt x="10205289" y="966629"/>
                </a:cubicBezTo>
                <a:close/>
                <a:moveTo>
                  <a:pt x="10359163" y="768791"/>
                </a:moveTo>
                <a:cubicBezTo>
                  <a:pt x="10374864" y="768791"/>
                  <a:pt x="10384285" y="781352"/>
                  <a:pt x="10381145" y="803334"/>
                </a:cubicBezTo>
                <a:cubicBezTo>
                  <a:pt x="10378005" y="828457"/>
                  <a:pt x="10362303" y="853579"/>
                  <a:pt x="10330900" y="875561"/>
                </a:cubicBezTo>
                <a:cubicBezTo>
                  <a:pt x="10318339" y="828457"/>
                  <a:pt x="10327760" y="768791"/>
                  <a:pt x="10359163" y="768791"/>
                </a:cubicBezTo>
                <a:close/>
                <a:moveTo>
                  <a:pt x="11203898" y="658881"/>
                </a:moveTo>
                <a:cubicBezTo>
                  <a:pt x="11191337" y="658881"/>
                  <a:pt x="11178776" y="671442"/>
                  <a:pt x="11178776" y="684003"/>
                </a:cubicBezTo>
                <a:cubicBezTo>
                  <a:pt x="11181916" y="696564"/>
                  <a:pt x="11191337" y="709126"/>
                  <a:pt x="11203898" y="709126"/>
                </a:cubicBezTo>
                <a:cubicBezTo>
                  <a:pt x="11216459" y="709126"/>
                  <a:pt x="11229020" y="696564"/>
                  <a:pt x="11229020" y="684003"/>
                </a:cubicBezTo>
                <a:cubicBezTo>
                  <a:pt x="11229020" y="668302"/>
                  <a:pt x="11219600" y="658881"/>
                  <a:pt x="11203898" y="658881"/>
                </a:cubicBezTo>
                <a:close/>
                <a:moveTo>
                  <a:pt x="10842765" y="646320"/>
                </a:moveTo>
                <a:cubicBezTo>
                  <a:pt x="10827064" y="646320"/>
                  <a:pt x="10817643" y="658881"/>
                  <a:pt x="10817643" y="674583"/>
                </a:cubicBezTo>
                <a:cubicBezTo>
                  <a:pt x="10817643" y="690284"/>
                  <a:pt x="10830204" y="702845"/>
                  <a:pt x="10842765" y="699705"/>
                </a:cubicBezTo>
                <a:cubicBezTo>
                  <a:pt x="10858467" y="699705"/>
                  <a:pt x="10867887" y="687144"/>
                  <a:pt x="10867887" y="671442"/>
                </a:cubicBezTo>
                <a:cubicBezTo>
                  <a:pt x="10867887" y="655741"/>
                  <a:pt x="10858467" y="646320"/>
                  <a:pt x="10842765" y="646320"/>
                </a:cubicBezTo>
                <a:close/>
                <a:moveTo>
                  <a:pt x="9570952" y="621198"/>
                </a:moveTo>
                <a:cubicBezTo>
                  <a:pt x="9492445" y="621198"/>
                  <a:pt x="9420219" y="702845"/>
                  <a:pt x="9420219" y="806475"/>
                </a:cubicBezTo>
                <a:cubicBezTo>
                  <a:pt x="9420219" y="906964"/>
                  <a:pt x="9470463" y="969769"/>
                  <a:pt x="9545830" y="969769"/>
                </a:cubicBezTo>
                <a:cubicBezTo>
                  <a:pt x="9592934" y="969769"/>
                  <a:pt x="9636898" y="944647"/>
                  <a:pt x="9665161" y="894402"/>
                </a:cubicBezTo>
                <a:cubicBezTo>
                  <a:pt x="9671441" y="935226"/>
                  <a:pt x="9702844" y="954068"/>
                  <a:pt x="9724826" y="954068"/>
                </a:cubicBezTo>
                <a:cubicBezTo>
                  <a:pt x="9759369" y="954068"/>
                  <a:pt x="9784492" y="932086"/>
                  <a:pt x="9797053" y="900683"/>
                </a:cubicBezTo>
                <a:cubicBezTo>
                  <a:pt x="9803333" y="932086"/>
                  <a:pt x="9822175" y="954068"/>
                  <a:pt x="9847297" y="954068"/>
                </a:cubicBezTo>
                <a:cubicBezTo>
                  <a:pt x="9866139" y="954068"/>
                  <a:pt x="9881840" y="944647"/>
                  <a:pt x="9894401" y="928946"/>
                </a:cubicBezTo>
                <a:cubicBezTo>
                  <a:pt x="9891261" y="1035715"/>
                  <a:pt x="9884981" y="1104801"/>
                  <a:pt x="9947786" y="1092240"/>
                </a:cubicBezTo>
                <a:cubicBezTo>
                  <a:pt x="9938365" y="1060837"/>
                  <a:pt x="9935225" y="1007453"/>
                  <a:pt x="9935225" y="957208"/>
                </a:cubicBezTo>
                <a:cubicBezTo>
                  <a:pt x="9935225" y="822176"/>
                  <a:pt x="9957207" y="775072"/>
                  <a:pt x="9985470" y="775072"/>
                </a:cubicBezTo>
                <a:cubicBezTo>
                  <a:pt x="10007452" y="775072"/>
                  <a:pt x="10013732" y="800194"/>
                  <a:pt x="10013732" y="828457"/>
                </a:cubicBezTo>
                <a:cubicBezTo>
                  <a:pt x="10013732" y="844158"/>
                  <a:pt x="10013732" y="859859"/>
                  <a:pt x="10007452" y="875561"/>
                </a:cubicBezTo>
                <a:cubicBezTo>
                  <a:pt x="9972908" y="897543"/>
                  <a:pt x="9944646" y="913244"/>
                  <a:pt x="9944646" y="935226"/>
                </a:cubicBezTo>
                <a:cubicBezTo>
                  <a:pt x="9944646" y="954068"/>
                  <a:pt x="9957207" y="954068"/>
                  <a:pt x="9969768" y="954068"/>
                </a:cubicBezTo>
                <a:cubicBezTo>
                  <a:pt x="9994890" y="954068"/>
                  <a:pt x="10029433" y="928946"/>
                  <a:pt x="10045135" y="878701"/>
                </a:cubicBezTo>
                <a:cubicBezTo>
                  <a:pt x="10060836" y="869280"/>
                  <a:pt x="10076538" y="859859"/>
                  <a:pt x="10092239" y="844158"/>
                </a:cubicBezTo>
                <a:cubicBezTo>
                  <a:pt x="10092239" y="850439"/>
                  <a:pt x="10092239" y="853579"/>
                  <a:pt x="10092239" y="859859"/>
                </a:cubicBezTo>
                <a:cubicBezTo>
                  <a:pt x="10092239" y="910104"/>
                  <a:pt x="10114221" y="938366"/>
                  <a:pt x="10148764" y="938366"/>
                </a:cubicBezTo>
                <a:cubicBezTo>
                  <a:pt x="10177027" y="938366"/>
                  <a:pt x="10195868" y="919525"/>
                  <a:pt x="10208430" y="891262"/>
                </a:cubicBezTo>
                <a:cubicBezTo>
                  <a:pt x="10208430" y="906964"/>
                  <a:pt x="10208430" y="922665"/>
                  <a:pt x="10211570" y="935226"/>
                </a:cubicBezTo>
                <a:cubicBezTo>
                  <a:pt x="10158185" y="960348"/>
                  <a:pt x="10098520" y="985471"/>
                  <a:pt x="10098520" y="1057697"/>
                </a:cubicBezTo>
                <a:cubicBezTo>
                  <a:pt x="10098520" y="1095380"/>
                  <a:pt x="10123642" y="1120503"/>
                  <a:pt x="10158185" y="1120503"/>
                </a:cubicBezTo>
                <a:cubicBezTo>
                  <a:pt x="10233552" y="1120503"/>
                  <a:pt x="10252393" y="1041996"/>
                  <a:pt x="10252393" y="947787"/>
                </a:cubicBezTo>
                <a:cubicBezTo>
                  <a:pt x="10277516" y="938366"/>
                  <a:pt x="10296357" y="928946"/>
                  <a:pt x="10315199" y="919525"/>
                </a:cubicBezTo>
                <a:cubicBezTo>
                  <a:pt x="10334041" y="941507"/>
                  <a:pt x="10359163" y="954068"/>
                  <a:pt x="10381145" y="954068"/>
                </a:cubicBezTo>
                <a:cubicBezTo>
                  <a:pt x="10425109" y="954068"/>
                  <a:pt x="10456512" y="932086"/>
                  <a:pt x="10481634" y="884982"/>
                </a:cubicBezTo>
                <a:cubicBezTo>
                  <a:pt x="10484774" y="919525"/>
                  <a:pt x="10494195" y="954068"/>
                  <a:pt x="10513037" y="954068"/>
                </a:cubicBezTo>
                <a:cubicBezTo>
                  <a:pt x="10547580" y="954068"/>
                  <a:pt x="10553860" y="778212"/>
                  <a:pt x="10578983" y="778212"/>
                </a:cubicBezTo>
                <a:cubicBezTo>
                  <a:pt x="10597824" y="778212"/>
                  <a:pt x="10582123" y="969769"/>
                  <a:pt x="10632367" y="969769"/>
                </a:cubicBezTo>
                <a:cubicBezTo>
                  <a:pt x="10676331" y="969769"/>
                  <a:pt x="10685752" y="800194"/>
                  <a:pt x="10704594" y="800194"/>
                </a:cubicBezTo>
                <a:cubicBezTo>
                  <a:pt x="10720295" y="800194"/>
                  <a:pt x="10720295" y="954068"/>
                  <a:pt x="10767400" y="954068"/>
                </a:cubicBezTo>
                <a:cubicBezTo>
                  <a:pt x="10789381" y="954068"/>
                  <a:pt x="10817644" y="925805"/>
                  <a:pt x="10830205" y="866140"/>
                </a:cubicBezTo>
                <a:cubicBezTo>
                  <a:pt x="10836486" y="903823"/>
                  <a:pt x="10855327" y="954068"/>
                  <a:pt x="10893011" y="954068"/>
                </a:cubicBezTo>
                <a:cubicBezTo>
                  <a:pt x="10914993" y="954068"/>
                  <a:pt x="10933834" y="932086"/>
                  <a:pt x="10949536" y="900683"/>
                </a:cubicBezTo>
                <a:cubicBezTo>
                  <a:pt x="10952676" y="932086"/>
                  <a:pt x="10962097" y="954068"/>
                  <a:pt x="10980939" y="954068"/>
                </a:cubicBezTo>
                <a:cubicBezTo>
                  <a:pt x="11024903" y="954068"/>
                  <a:pt x="11024903" y="778212"/>
                  <a:pt x="11059446" y="778212"/>
                </a:cubicBezTo>
                <a:cubicBezTo>
                  <a:pt x="11087708" y="778212"/>
                  <a:pt x="11078287" y="954068"/>
                  <a:pt x="11144233" y="954068"/>
                </a:cubicBezTo>
                <a:cubicBezTo>
                  <a:pt x="11175636" y="954068"/>
                  <a:pt x="11191337" y="928946"/>
                  <a:pt x="11197618" y="894402"/>
                </a:cubicBezTo>
                <a:cubicBezTo>
                  <a:pt x="11210179" y="944647"/>
                  <a:pt x="11229021" y="954068"/>
                  <a:pt x="11244722" y="954068"/>
                </a:cubicBezTo>
                <a:cubicBezTo>
                  <a:pt x="11254143" y="954068"/>
                  <a:pt x="11263564" y="950928"/>
                  <a:pt x="11272985" y="938366"/>
                </a:cubicBezTo>
                <a:cubicBezTo>
                  <a:pt x="11219600" y="916384"/>
                  <a:pt x="11225881" y="837877"/>
                  <a:pt x="11225881" y="784493"/>
                </a:cubicBezTo>
                <a:cubicBezTo>
                  <a:pt x="11225881" y="759370"/>
                  <a:pt x="11222740" y="740529"/>
                  <a:pt x="11207039" y="740529"/>
                </a:cubicBezTo>
                <a:cubicBezTo>
                  <a:pt x="11197618" y="740529"/>
                  <a:pt x="11194478" y="740529"/>
                  <a:pt x="11188197" y="743669"/>
                </a:cubicBezTo>
                <a:cubicBezTo>
                  <a:pt x="11194478" y="834737"/>
                  <a:pt x="11172496" y="913244"/>
                  <a:pt x="11147374" y="913244"/>
                </a:cubicBezTo>
                <a:cubicBezTo>
                  <a:pt x="11115971" y="913244"/>
                  <a:pt x="11131672" y="721687"/>
                  <a:pt x="11062586" y="721687"/>
                </a:cubicBezTo>
                <a:cubicBezTo>
                  <a:pt x="10999780" y="721687"/>
                  <a:pt x="10990359" y="875561"/>
                  <a:pt x="10984079" y="875561"/>
                </a:cubicBezTo>
                <a:cubicBezTo>
                  <a:pt x="10977798" y="875561"/>
                  <a:pt x="10977798" y="834737"/>
                  <a:pt x="10977798" y="803334"/>
                </a:cubicBezTo>
                <a:cubicBezTo>
                  <a:pt x="10980939" y="787633"/>
                  <a:pt x="10980939" y="775072"/>
                  <a:pt x="10980939" y="765651"/>
                </a:cubicBezTo>
                <a:cubicBezTo>
                  <a:pt x="10980939" y="749950"/>
                  <a:pt x="10974658" y="727968"/>
                  <a:pt x="10943255" y="740529"/>
                </a:cubicBezTo>
                <a:cubicBezTo>
                  <a:pt x="10943255" y="850439"/>
                  <a:pt x="10921273" y="916384"/>
                  <a:pt x="10896151" y="916384"/>
                </a:cubicBezTo>
                <a:cubicBezTo>
                  <a:pt x="10858468" y="916384"/>
                  <a:pt x="10858468" y="815895"/>
                  <a:pt x="10858468" y="790773"/>
                </a:cubicBezTo>
                <a:cubicBezTo>
                  <a:pt x="10858468" y="762511"/>
                  <a:pt x="10861608" y="727968"/>
                  <a:pt x="10820784" y="740529"/>
                </a:cubicBezTo>
                <a:cubicBezTo>
                  <a:pt x="10814504" y="834737"/>
                  <a:pt x="10789381" y="906964"/>
                  <a:pt x="10773680" y="906964"/>
                </a:cubicBezTo>
                <a:cubicBezTo>
                  <a:pt x="10754838" y="906964"/>
                  <a:pt x="10757979" y="740529"/>
                  <a:pt x="10707734" y="740529"/>
                </a:cubicBezTo>
                <a:cubicBezTo>
                  <a:pt x="10660630" y="740529"/>
                  <a:pt x="10648069" y="897543"/>
                  <a:pt x="10638648" y="897543"/>
                </a:cubicBezTo>
                <a:cubicBezTo>
                  <a:pt x="10622947" y="897543"/>
                  <a:pt x="10644929" y="721687"/>
                  <a:pt x="10578983" y="721687"/>
                </a:cubicBezTo>
                <a:cubicBezTo>
                  <a:pt x="10544440" y="721687"/>
                  <a:pt x="10531879" y="781352"/>
                  <a:pt x="10516177" y="847298"/>
                </a:cubicBezTo>
                <a:cubicBezTo>
                  <a:pt x="10513037" y="859859"/>
                  <a:pt x="10509897" y="859859"/>
                  <a:pt x="10509897" y="847298"/>
                </a:cubicBezTo>
                <a:cubicBezTo>
                  <a:pt x="10509897" y="834737"/>
                  <a:pt x="10509897" y="822176"/>
                  <a:pt x="10509897" y="809615"/>
                </a:cubicBezTo>
                <a:cubicBezTo>
                  <a:pt x="10525598" y="743669"/>
                  <a:pt x="10506756" y="718547"/>
                  <a:pt x="10475353" y="737388"/>
                </a:cubicBezTo>
                <a:cubicBezTo>
                  <a:pt x="10484774" y="859859"/>
                  <a:pt x="10428249" y="919525"/>
                  <a:pt x="10387426" y="919525"/>
                </a:cubicBezTo>
                <a:cubicBezTo>
                  <a:pt x="10371724" y="919525"/>
                  <a:pt x="10359163" y="913244"/>
                  <a:pt x="10349742" y="903823"/>
                </a:cubicBezTo>
                <a:cubicBezTo>
                  <a:pt x="10399987" y="872421"/>
                  <a:pt x="10425109" y="834737"/>
                  <a:pt x="10425109" y="800194"/>
                </a:cubicBezTo>
                <a:cubicBezTo>
                  <a:pt x="10425109" y="762511"/>
                  <a:pt x="10403127" y="740529"/>
                  <a:pt x="10365444" y="740529"/>
                </a:cubicBezTo>
                <a:cubicBezTo>
                  <a:pt x="10315199" y="740529"/>
                  <a:pt x="10286937" y="793913"/>
                  <a:pt x="10286937" y="837877"/>
                </a:cubicBezTo>
                <a:cubicBezTo>
                  <a:pt x="10286937" y="863000"/>
                  <a:pt x="10290077" y="881841"/>
                  <a:pt x="10299498" y="900683"/>
                </a:cubicBezTo>
                <a:cubicBezTo>
                  <a:pt x="10280656" y="910104"/>
                  <a:pt x="10264955" y="916384"/>
                  <a:pt x="10249253" y="922665"/>
                </a:cubicBezTo>
                <a:cubicBezTo>
                  <a:pt x="10249253" y="875561"/>
                  <a:pt x="10242973" y="828457"/>
                  <a:pt x="10239832" y="784493"/>
                </a:cubicBezTo>
                <a:cubicBezTo>
                  <a:pt x="10211570" y="778212"/>
                  <a:pt x="10205289" y="790773"/>
                  <a:pt x="10202149" y="815895"/>
                </a:cubicBezTo>
                <a:cubicBezTo>
                  <a:pt x="10192728" y="863000"/>
                  <a:pt x="10173886" y="897543"/>
                  <a:pt x="10155045" y="897543"/>
                </a:cubicBezTo>
                <a:cubicBezTo>
                  <a:pt x="10142484" y="897543"/>
                  <a:pt x="10133063" y="881841"/>
                  <a:pt x="10133063" y="863000"/>
                </a:cubicBezTo>
                <a:cubicBezTo>
                  <a:pt x="10126782" y="775072"/>
                  <a:pt x="10199009" y="749950"/>
                  <a:pt x="10236692" y="762511"/>
                </a:cubicBezTo>
                <a:cubicBezTo>
                  <a:pt x="10242973" y="743669"/>
                  <a:pt x="10236692" y="727968"/>
                  <a:pt x="10202149" y="727968"/>
                </a:cubicBezTo>
                <a:cubicBezTo>
                  <a:pt x="10161325" y="727968"/>
                  <a:pt x="10129923" y="753090"/>
                  <a:pt x="10107941" y="784493"/>
                </a:cubicBezTo>
                <a:cubicBezTo>
                  <a:pt x="10092239" y="806475"/>
                  <a:pt x="10076538" y="822176"/>
                  <a:pt x="10051415" y="841018"/>
                </a:cubicBezTo>
                <a:cubicBezTo>
                  <a:pt x="10051415" y="834737"/>
                  <a:pt x="10051415" y="831597"/>
                  <a:pt x="10051415" y="825316"/>
                </a:cubicBezTo>
                <a:cubicBezTo>
                  <a:pt x="10051415" y="762511"/>
                  <a:pt x="10016872" y="734248"/>
                  <a:pt x="9985470" y="734248"/>
                </a:cubicBezTo>
                <a:cubicBezTo>
                  <a:pt x="9957207" y="734248"/>
                  <a:pt x="9941506" y="749950"/>
                  <a:pt x="9932085" y="775072"/>
                </a:cubicBezTo>
                <a:cubicBezTo>
                  <a:pt x="9928945" y="753090"/>
                  <a:pt x="9925804" y="740529"/>
                  <a:pt x="9910103" y="740529"/>
                </a:cubicBezTo>
                <a:cubicBezTo>
                  <a:pt x="9903822" y="740529"/>
                  <a:pt x="9894401" y="743669"/>
                  <a:pt x="9884981" y="746809"/>
                </a:cubicBezTo>
                <a:cubicBezTo>
                  <a:pt x="9888121" y="759370"/>
                  <a:pt x="9891261" y="790773"/>
                  <a:pt x="9891261" y="812755"/>
                </a:cubicBezTo>
                <a:cubicBezTo>
                  <a:pt x="9891261" y="888122"/>
                  <a:pt x="9869279" y="922665"/>
                  <a:pt x="9850437" y="922665"/>
                </a:cubicBezTo>
                <a:cubicBezTo>
                  <a:pt x="9825315" y="922665"/>
                  <a:pt x="9822175" y="834737"/>
                  <a:pt x="9822175" y="800194"/>
                </a:cubicBezTo>
                <a:cubicBezTo>
                  <a:pt x="9819035" y="800194"/>
                  <a:pt x="9815894" y="797054"/>
                  <a:pt x="9809614" y="797054"/>
                </a:cubicBezTo>
                <a:cubicBezTo>
                  <a:pt x="9787632" y="797054"/>
                  <a:pt x="9784492" y="825316"/>
                  <a:pt x="9781351" y="853579"/>
                </a:cubicBezTo>
                <a:cubicBezTo>
                  <a:pt x="9775071" y="881841"/>
                  <a:pt x="9759369" y="919525"/>
                  <a:pt x="9734247" y="919525"/>
                </a:cubicBezTo>
                <a:cubicBezTo>
                  <a:pt x="9718546" y="919525"/>
                  <a:pt x="9709125" y="903823"/>
                  <a:pt x="9709125" y="878701"/>
                </a:cubicBezTo>
                <a:cubicBezTo>
                  <a:pt x="9702844" y="822176"/>
                  <a:pt x="9749949" y="759370"/>
                  <a:pt x="9819035" y="778212"/>
                </a:cubicBezTo>
                <a:cubicBezTo>
                  <a:pt x="9825315" y="759370"/>
                  <a:pt x="9812754" y="740529"/>
                  <a:pt x="9784492" y="740529"/>
                </a:cubicBezTo>
                <a:cubicBezTo>
                  <a:pt x="9734247" y="740529"/>
                  <a:pt x="9690283" y="781352"/>
                  <a:pt x="9674582" y="825316"/>
                </a:cubicBezTo>
                <a:cubicBezTo>
                  <a:pt x="9655740" y="866140"/>
                  <a:pt x="9621197" y="925805"/>
                  <a:pt x="9555251" y="925805"/>
                </a:cubicBezTo>
                <a:cubicBezTo>
                  <a:pt x="9508147" y="925805"/>
                  <a:pt x="9473604" y="884982"/>
                  <a:pt x="9473604" y="800194"/>
                </a:cubicBezTo>
                <a:cubicBezTo>
                  <a:pt x="9473604" y="727968"/>
                  <a:pt x="9520708" y="655741"/>
                  <a:pt x="9567812" y="655741"/>
                </a:cubicBezTo>
                <a:cubicBezTo>
                  <a:pt x="9602355" y="655741"/>
                  <a:pt x="9611776" y="690284"/>
                  <a:pt x="9608636" y="721687"/>
                </a:cubicBezTo>
                <a:cubicBezTo>
                  <a:pt x="9627478" y="737388"/>
                  <a:pt x="9655740" y="721687"/>
                  <a:pt x="9655740" y="687144"/>
                </a:cubicBezTo>
                <a:cubicBezTo>
                  <a:pt x="9655740" y="662022"/>
                  <a:pt x="9636898" y="621198"/>
                  <a:pt x="9570952" y="621198"/>
                </a:cubicBezTo>
                <a:close/>
                <a:moveTo>
                  <a:pt x="11503938" y="612538"/>
                </a:moveTo>
                <a:cubicBezTo>
                  <a:pt x="11456741" y="669501"/>
                  <a:pt x="11291551" y="712570"/>
                  <a:pt x="11291551" y="832051"/>
                </a:cubicBezTo>
                <a:cubicBezTo>
                  <a:pt x="11291551" y="879288"/>
                  <a:pt x="11320702" y="923747"/>
                  <a:pt x="11365123" y="940418"/>
                </a:cubicBezTo>
                <a:cubicBezTo>
                  <a:pt x="11390110" y="950144"/>
                  <a:pt x="11415096" y="950144"/>
                  <a:pt x="11440083" y="941808"/>
                </a:cubicBezTo>
                <a:lnTo>
                  <a:pt x="11444304" y="939708"/>
                </a:lnTo>
                <a:lnTo>
                  <a:pt x="11445324" y="939542"/>
                </a:lnTo>
                <a:cubicBezTo>
                  <a:pt x="11456276" y="936118"/>
                  <a:pt x="11466199" y="930980"/>
                  <a:pt x="11475268" y="924644"/>
                </a:cubicBezTo>
                <a:lnTo>
                  <a:pt x="11494474" y="907542"/>
                </a:lnTo>
                <a:lnTo>
                  <a:pt x="11488753" y="926162"/>
                </a:lnTo>
                <a:lnTo>
                  <a:pt x="11464846" y="951842"/>
                </a:lnTo>
                <a:lnTo>
                  <a:pt x="11432834" y="964214"/>
                </a:lnTo>
                <a:lnTo>
                  <a:pt x="11433416" y="964508"/>
                </a:lnTo>
                <a:lnTo>
                  <a:pt x="11427416" y="966826"/>
                </a:lnTo>
                <a:cubicBezTo>
                  <a:pt x="11435751" y="975167"/>
                  <a:pt x="11455198" y="980728"/>
                  <a:pt x="11478812" y="980728"/>
                </a:cubicBezTo>
                <a:cubicBezTo>
                  <a:pt x="11521873" y="980728"/>
                  <a:pt x="11574657" y="968216"/>
                  <a:pt x="11601049" y="940412"/>
                </a:cubicBezTo>
                <a:lnTo>
                  <a:pt x="11600229" y="940299"/>
                </a:lnTo>
                <a:lnTo>
                  <a:pt x="11604054" y="938167"/>
                </a:lnTo>
                <a:cubicBezTo>
                  <a:pt x="11586248" y="938852"/>
                  <a:pt x="11571523" y="933368"/>
                  <a:pt x="11561078" y="923772"/>
                </a:cubicBezTo>
                <a:lnTo>
                  <a:pt x="11546930" y="891807"/>
                </a:lnTo>
                <a:lnTo>
                  <a:pt x="11567885" y="908611"/>
                </a:lnTo>
                <a:cubicBezTo>
                  <a:pt x="11578129" y="913304"/>
                  <a:pt x="11589242" y="915389"/>
                  <a:pt x="11601049" y="915389"/>
                </a:cubicBezTo>
                <a:cubicBezTo>
                  <a:pt x="11619281" y="915389"/>
                  <a:pt x="11636145" y="909719"/>
                  <a:pt x="11650104" y="900067"/>
                </a:cubicBezTo>
                <a:lnTo>
                  <a:pt x="11650828" y="899169"/>
                </a:lnTo>
                <a:lnTo>
                  <a:pt x="11652427" y="898382"/>
                </a:lnTo>
                <a:cubicBezTo>
                  <a:pt x="11666192" y="888863"/>
                  <a:pt x="11677091" y="875417"/>
                  <a:pt x="11683608" y="859705"/>
                </a:cubicBezTo>
                <a:lnTo>
                  <a:pt x="11690343" y="825792"/>
                </a:lnTo>
                <a:lnTo>
                  <a:pt x="11690350" y="825831"/>
                </a:lnTo>
                <a:lnTo>
                  <a:pt x="11690350" y="825754"/>
                </a:lnTo>
                <a:lnTo>
                  <a:pt x="11690350" y="823091"/>
                </a:lnTo>
                <a:cubicBezTo>
                  <a:pt x="11690350" y="768290"/>
                  <a:pt x="11662973" y="721710"/>
                  <a:pt x="11623276" y="684719"/>
                </a:cubicBezTo>
                <a:cubicBezTo>
                  <a:pt x="11608219" y="670334"/>
                  <a:pt x="11591450" y="658004"/>
                  <a:pt x="11573655" y="647215"/>
                </a:cubicBezTo>
                <a:lnTo>
                  <a:pt x="11570681" y="645708"/>
                </a:lnTo>
                <a:lnTo>
                  <a:pt x="11570221" y="645361"/>
                </a:lnTo>
                <a:cubicBezTo>
                  <a:pt x="11552175" y="634420"/>
                  <a:pt x="11533088" y="625042"/>
                  <a:pt x="11513655" y="616706"/>
                </a:cubicBezTo>
                <a:cubicBezTo>
                  <a:pt x="11510878" y="615317"/>
                  <a:pt x="11508102" y="613928"/>
                  <a:pt x="11503938" y="612538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Insert picture, edit alt text and send </a:t>
            </a:r>
            <a:r>
              <a:rPr lang="de-DE" err="1"/>
              <a:t>to</a:t>
            </a:r>
            <a:r>
              <a:rPr lang="de-DE"/>
              <a:t> back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A39C93-A915-45D6-953A-AAC473CA2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3678123"/>
            <a:ext cx="11386134" cy="830997"/>
          </a:xfrm>
        </p:spPr>
        <p:txBody>
          <a:bodyPr wrap="square" lIns="36000" rIns="36000" bIns="0" anchor="b" anchorCtr="0">
            <a:spAutoFit/>
          </a:bodyPr>
          <a:lstStyle>
            <a:lvl1pPr algn="l">
              <a:lnSpc>
                <a:spcPct val="90000"/>
              </a:lnSpc>
              <a:defRPr sz="60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81D5C5CA-E0F9-4194-9FD7-26150AB2A8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813" y="4561383"/>
            <a:ext cx="11386134" cy="307777"/>
          </a:xfrm>
        </p:spPr>
        <p:txBody>
          <a:bodyPr wrap="square" lIns="36000" tIns="0" rIns="36000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E84EF3-D086-4872-B447-29CA255B022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22540" y="611982"/>
            <a:ext cx="2267015" cy="509586"/>
            <a:chOff x="9550400" y="612775"/>
            <a:chExt cx="2231297" cy="501650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246E8D9-37F5-42CB-BC0C-F3B7051C922C}"/>
                </a:ext>
              </a:extLst>
            </p:cNvPr>
            <p:cNvSpPr/>
            <p:nvPr/>
          </p:nvSpPr>
          <p:spPr>
            <a:xfrm>
              <a:off x="11517270" y="764033"/>
              <a:ext cx="261161" cy="212194"/>
            </a:xfrm>
            <a:custGeom>
              <a:avLst/>
              <a:gdLst>
                <a:gd name="connsiteX0" fmla="*/ 304324 w 457200"/>
                <a:gd name="connsiteY0" fmla="*/ 261461 h 371475"/>
                <a:gd name="connsiteX1" fmla="*/ 456724 w 457200"/>
                <a:gd name="connsiteY1" fmla="*/ 110014 h 371475"/>
                <a:gd name="connsiteX2" fmla="*/ 344329 w 457200"/>
                <a:gd name="connsiteY2" fmla="*/ 7144 h 371475"/>
                <a:gd name="connsiteX3" fmla="*/ 125254 w 457200"/>
                <a:gd name="connsiteY3" fmla="*/ 241459 h 371475"/>
                <a:gd name="connsiteX4" fmla="*/ 7144 w 457200"/>
                <a:gd name="connsiteY4" fmla="*/ 348139 h 371475"/>
                <a:gd name="connsiteX5" fmla="*/ 96679 w 457200"/>
                <a:gd name="connsiteY5" fmla="*/ 372904 h 371475"/>
                <a:gd name="connsiteX6" fmla="*/ 306229 w 457200"/>
                <a:gd name="connsiteY6" fmla="*/ 304324 h 371475"/>
                <a:gd name="connsiteX7" fmla="*/ 200501 w 457200"/>
                <a:gd name="connsiteY7" fmla="*/ 210026 h 371475"/>
                <a:gd name="connsiteX8" fmla="*/ 304324 w 457200"/>
                <a:gd name="connsiteY8" fmla="*/ 261461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0" h="371475">
                  <a:moveTo>
                    <a:pt x="304324" y="261461"/>
                  </a:moveTo>
                  <a:cubicBezTo>
                    <a:pt x="390049" y="261461"/>
                    <a:pt x="455771" y="191929"/>
                    <a:pt x="456724" y="110014"/>
                  </a:cubicBezTo>
                  <a:cubicBezTo>
                    <a:pt x="451009" y="73819"/>
                    <a:pt x="438626" y="7144"/>
                    <a:pt x="344329" y="7144"/>
                  </a:cubicBezTo>
                  <a:cubicBezTo>
                    <a:pt x="242411" y="7144"/>
                    <a:pt x="208121" y="150019"/>
                    <a:pt x="125254" y="241459"/>
                  </a:cubicBezTo>
                  <a:cubicBezTo>
                    <a:pt x="118586" y="293846"/>
                    <a:pt x="69056" y="340519"/>
                    <a:pt x="7144" y="348139"/>
                  </a:cubicBezTo>
                  <a:cubicBezTo>
                    <a:pt x="22384" y="364331"/>
                    <a:pt x="55721" y="372904"/>
                    <a:pt x="96679" y="372904"/>
                  </a:cubicBezTo>
                  <a:cubicBezTo>
                    <a:pt x="170021" y="372904"/>
                    <a:pt x="259556" y="350996"/>
                    <a:pt x="306229" y="304324"/>
                  </a:cubicBezTo>
                  <a:cubicBezTo>
                    <a:pt x="244316" y="305276"/>
                    <a:pt x="204311" y="265271"/>
                    <a:pt x="200501" y="210026"/>
                  </a:cubicBezTo>
                  <a:cubicBezTo>
                    <a:pt x="230029" y="247174"/>
                    <a:pt x="264319" y="261461"/>
                    <a:pt x="304324" y="261461"/>
                  </a:cubicBezTo>
                  <a:close/>
                </a:path>
              </a:pathLst>
            </a:custGeom>
            <a:solidFill>
              <a:srgbClr val="17ABDB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6EA2E0C-1F08-4C5C-BD23-AEAC2902BE3F}"/>
                </a:ext>
              </a:extLst>
            </p:cNvPr>
            <p:cNvSpPr/>
            <p:nvPr/>
          </p:nvSpPr>
          <p:spPr>
            <a:xfrm>
              <a:off x="9550400" y="619305"/>
              <a:ext cx="1811806" cy="495120"/>
            </a:xfrm>
            <a:custGeom>
              <a:avLst/>
              <a:gdLst>
                <a:gd name="connsiteX0" fmla="*/ 3092291 w 3171825"/>
                <a:gd name="connsiteY0" fmla="*/ 287179 h 866775"/>
                <a:gd name="connsiteX1" fmla="*/ 3059907 w 3171825"/>
                <a:gd name="connsiteY1" fmla="*/ 211931 h 866775"/>
                <a:gd name="connsiteX2" fmla="*/ 3027521 w 3171825"/>
                <a:gd name="connsiteY2" fmla="*/ 218599 h 866775"/>
                <a:gd name="connsiteX3" fmla="*/ 2960846 w 3171825"/>
                <a:gd name="connsiteY3" fmla="*/ 507206 h 866775"/>
                <a:gd name="connsiteX4" fmla="*/ 2816066 w 3171825"/>
                <a:gd name="connsiteY4" fmla="*/ 178594 h 866775"/>
                <a:gd name="connsiteX5" fmla="*/ 2679859 w 3171825"/>
                <a:gd name="connsiteY5" fmla="*/ 440531 h 866775"/>
                <a:gd name="connsiteX6" fmla="*/ 2670334 w 3171825"/>
                <a:gd name="connsiteY6" fmla="*/ 319564 h 866775"/>
                <a:gd name="connsiteX7" fmla="*/ 2677001 w 3171825"/>
                <a:gd name="connsiteY7" fmla="*/ 254794 h 866775"/>
                <a:gd name="connsiteX8" fmla="*/ 2611279 w 3171825"/>
                <a:gd name="connsiteY8" fmla="*/ 209074 h 866775"/>
                <a:gd name="connsiteX9" fmla="*/ 2533174 w 3171825"/>
                <a:gd name="connsiteY9" fmla="*/ 510064 h 866775"/>
                <a:gd name="connsiteX10" fmla="*/ 2470309 w 3171825"/>
                <a:gd name="connsiteY10" fmla="*/ 292894 h 866775"/>
                <a:gd name="connsiteX11" fmla="*/ 2405539 w 3171825"/>
                <a:gd name="connsiteY11" fmla="*/ 208121 h 866775"/>
                <a:gd name="connsiteX12" fmla="*/ 2325529 w 3171825"/>
                <a:gd name="connsiteY12" fmla="*/ 494824 h 866775"/>
                <a:gd name="connsiteX13" fmla="*/ 2206466 w 3171825"/>
                <a:gd name="connsiteY13" fmla="*/ 211931 h 866775"/>
                <a:gd name="connsiteX14" fmla="*/ 2087404 w 3171825"/>
                <a:gd name="connsiteY14" fmla="*/ 479584 h 866775"/>
                <a:gd name="connsiteX15" fmla="*/ 1983581 w 3171825"/>
                <a:gd name="connsiteY15" fmla="*/ 178594 h 866775"/>
                <a:gd name="connsiteX16" fmla="*/ 1877854 w 3171825"/>
                <a:gd name="connsiteY16" fmla="*/ 391954 h 866775"/>
                <a:gd name="connsiteX17" fmla="*/ 1867376 w 3171825"/>
                <a:gd name="connsiteY17" fmla="*/ 390049 h 866775"/>
                <a:gd name="connsiteX18" fmla="*/ 1866424 w 3171825"/>
                <a:gd name="connsiteY18" fmla="*/ 327184 h 866775"/>
                <a:gd name="connsiteX19" fmla="*/ 1807369 w 3171825"/>
                <a:gd name="connsiteY19" fmla="*/ 202406 h 866775"/>
                <a:gd name="connsiteX20" fmla="*/ 1654969 w 3171825"/>
                <a:gd name="connsiteY20" fmla="*/ 512921 h 866775"/>
                <a:gd name="connsiteX21" fmla="*/ 1592104 w 3171825"/>
                <a:gd name="connsiteY21" fmla="*/ 483394 h 866775"/>
                <a:gd name="connsiteX22" fmla="*/ 1719739 w 3171825"/>
                <a:gd name="connsiteY22" fmla="*/ 306229 h 866775"/>
                <a:gd name="connsiteX23" fmla="*/ 1619726 w 3171825"/>
                <a:gd name="connsiteY23" fmla="*/ 202406 h 866775"/>
                <a:gd name="connsiteX24" fmla="*/ 1483519 w 3171825"/>
                <a:gd name="connsiteY24" fmla="*/ 369094 h 866775"/>
                <a:gd name="connsiteX25" fmla="*/ 1503521 w 3171825"/>
                <a:gd name="connsiteY25" fmla="*/ 473869 h 866775"/>
                <a:gd name="connsiteX26" fmla="*/ 1418749 w 3171825"/>
                <a:gd name="connsiteY26" fmla="*/ 512921 h 866775"/>
                <a:gd name="connsiteX27" fmla="*/ 1400651 w 3171825"/>
                <a:gd name="connsiteY27" fmla="*/ 274796 h 866775"/>
                <a:gd name="connsiteX28" fmla="*/ 1336834 w 3171825"/>
                <a:gd name="connsiteY28" fmla="*/ 326231 h 866775"/>
                <a:gd name="connsiteX29" fmla="*/ 1262539 w 3171825"/>
                <a:gd name="connsiteY29" fmla="*/ 479584 h 866775"/>
                <a:gd name="connsiteX30" fmla="*/ 1223486 w 3171825"/>
                <a:gd name="connsiteY30" fmla="*/ 421481 h 866775"/>
                <a:gd name="connsiteX31" fmla="*/ 1402556 w 3171825"/>
                <a:gd name="connsiteY31" fmla="*/ 250031 h 866775"/>
                <a:gd name="connsiteX32" fmla="*/ 1343501 w 3171825"/>
                <a:gd name="connsiteY32" fmla="*/ 192881 h 866775"/>
                <a:gd name="connsiteX33" fmla="*/ 1181576 w 3171825"/>
                <a:gd name="connsiteY33" fmla="*/ 290989 h 866775"/>
                <a:gd name="connsiteX34" fmla="*/ 1086326 w 3171825"/>
                <a:gd name="connsiteY34" fmla="*/ 385286 h 866775"/>
                <a:gd name="connsiteX35" fmla="*/ 1088231 w 3171825"/>
                <a:gd name="connsiteY35" fmla="*/ 358616 h 866775"/>
                <a:gd name="connsiteX36" fmla="*/ 974884 w 3171825"/>
                <a:gd name="connsiteY36" fmla="*/ 204311 h 866775"/>
                <a:gd name="connsiteX37" fmla="*/ 883444 w 3171825"/>
                <a:gd name="connsiteY37" fmla="*/ 273844 h 866775"/>
                <a:gd name="connsiteX38" fmla="*/ 846296 w 3171825"/>
                <a:gd name="connsiteY38" fmla="*/ 213836 h 866775"/>
                <a:gd name="connsiteX39" fmla="*/ 805339 w 3171825"/>
                <a:gd name="connsiteY39" fmla="*/ 224314 h 866775"/>
                <a:gd name="connsiteX40" fmla="*/ 814864 w 3171825"/>
                <a:gd name="connsiteY40" fmla="*/ 334804 h 866775"/>
                <a:gd name="connsiteX41" fmla="*/ 742474 w 3171825"/>
                <a:gd name="connsiteY41" fmla="*/ 520541 h 866775"/>
                <a:gd name="connsiteX42" fmla="*/ 691991 w 3171825"/>
                <a:gd name="connsiteY42" fmla="*/ 309086 h 866775"/>
                <a:gd name="connsiteX43" fmla="*/ 671989 w 3171825"/>
                <a:gd name="connsiteY43" fmla="*/ 305276 h 866775"/>
                <a:gd name="connsiteX44" fmla="*/ 621506 w 3171825"/>
                <a:gd name="connsiteY44" fmla="*/ 399574 h 866775"/>
                <a:gd name="connsiteX45" fmla="*/ 539591 w 3171825"/>
                <a:gd name="connsiteY45" fmla="*/ 512921 h 866775"/>
                <a:gd name="connsiteX46" fmla="*/ 495776 w 3171825"/>
                <a:gd name="connsiteY46" fmla="*/ 443389 h 866775"/>
                <a:gd name="connsiteX47" fmla="*/ 685324 w 3171825"/>
                <a:gd name="connsiteY47" fmla="*/ 278606 h 866775"/>
                <a:gd name="connsiteX48" fmla="*/ 627221 w 3171825"/>
                <a:gd name="connsiteY48" fmla="*/ 214789 h 866775"/>
                <a:gd name="connsiteX49" fmla="*/ 437674 w 3171825"/>
                <a:gd name="connsiteY49" fmla="*/ 355759 h 866775"/>
                <a:gd name="connsiteX50" fmla="*/ 237649 w 3171825"/>
                <a:gd name="connsiteY50" fmla="*/ 529114 h 866775"/>
                <a:gd name="connsiteX51" fmla="*/ 97631 w 3171825"/>
                <a:gd name="connsiteY51" fmla="*/ 313849 h 866775"/>
                <a:gd name="connsiteX52" fmla="*/ 261461 w 3171825"/>
                <a:gd name="connsiteY52" fmla="*/ 69056 h 866775"/>
                <a:gd name="connsiteX53" fmla="*/ 329089 w 3171825"/>
                <a:gd name="connsiteY53" fmla="*/ 181451 h 866775"/>
                <a:gd name="connsiteX54" fmla="*/ 410051 w 3171825"/>
                <a:gd name="connsiteY54" fmla="*/ 121444 h 866775"/>
                <a:gd name="connsiteX55" fmla="*/ 265271 w 3171825"/>
                <a:gd name="connsiteY55" fmla="*/ 7144 h 866775"/>
                <a:gd name="connsiteX56" fmla="*/ 7144 w 3171825"/>
                <a:gd name="connsiteY56" fmla="*/ 324326 h 866775"/>
                <a:gd name="connsiteX57" fmla="*/ 220504 w 3171825"/>
                <a:gd name="connsiteY57" fmla="*/ 601504 h 866775"/>
                <a:gd name="connsiteX58" fmla="*/ 425291 w 3171825"/>
                <a:gd name="connsiteY58" fmla="*/ 472916 h 866775"/>
                <a:gd name="connsiteX59" fmla="*/ 525304 w 3171825"/>
                <a:gd name="connsiteY59" fmla="*/ 576739 h 866775"/>
                <a:gd name="connsiteX60" fmla="*/ 646271 w 3171825"/>
                <a:gd name="connsiteY60" fmla="*/ 485299 h 866775"/>
                <a:gd name="connsiteX61" fmla="*/ 734854 w 3171825"/>
                <a:gd name="connsiteY61" fmla="*/ 576739 h 866775"/>
                <a:gd name="connsiteX62" fmla="*/ 812959 w 3171825"/>
                <a:gd name="connsiteY62" fmla="*/ 532924 h 866775"/>
                <a:gd name="connsiteX63" fmla="*/ 904399 w 3171825"/>
                <a:gd name="connsiteY63" fmla="*/ 810101 h 866775"/>
                <a:gd name="connsiteX64" fmla="*/ 882491 w 3171825"/>
                <a:gd name="connsiteY64" fmla="*/ 577691 h 866775"/>
                <a:gd name="connsiteX65" fmla="*/ 969169 w 3171825"/>
                <a:gd name="connsiteY65" fmla="*/ 267176 h 866775"/>
                <a:gd name="connsiteX66" fmla="*/ 1015841 w 3171825"/>
                <a:gd name="connsiteY66" fmla="*/ 359569 h 866775"/>
                <a:gd name="connsiteX67" fmla="*/ 1007269 w 3171825"/>
                <a:gd name="connsiteY67" fmla="*/ 440531 h 866775"/>
                <a:gd name="connsiteX68" fmla="*/ 900589 w 3171825"/>
                <a:gd name="connsiteY68" fmla="*/ 545306 h 866775"/>
                <a:gd name="connsiteX69" fmla="*/ 941546 w 3171825"/>
                <a:gd name="connsiteY69" fmla="*/ 577691 h 866775"/>
                <a:gd name="connsiteX70" fmla="*/ 1072039 w 3171825"/>
                <a:gd name="connsiteY70" fmla="*/ 449104 h 866775"/>
                <a:gd name="connsiteX71" fmla="*/ 1150144 w 3171825"/>
                <a:gd name="connsiteY71" fmla="*/ 390049 h 866775"/>
                <a:gd name="connsiteX72" fmla="*/ 1149191 w 3171825"/>
                <a:gd name="connsiteY72" fmla="*/ 415766 h 866775"/>
                <a:gd name="connsiteX73" fmla="*/ 1244441 w 3171825"/>
                <a:gd name="connsiteY73" fmla="*/ 550069 h 866775"/>
                <a:gd name="connsiteX74" fmla="*/ 1349216 w 3171825"/>
                <a:gd name="connsiteY74" fmla="*/ 469106 h 866775"/>
                <a:gd name="connsiteX75" fmla="*/ 1352074 w 3171825"/>
                <a:gd name="connsiteY75" fmla="*/ 547211 h 866775"/>
                <a:gd name="connsiteX76" fmla="*/ 1155859 w 3171825"/>
                <a:gd name="connsiteY76" fmla="*/ 754856 h 866775"/>
                <a:gd name="connsiteX77" fmla="*/ 1259681 w 3171825"/>
                <a:gd name="connsiteY77" fmla="*/ 864394 h 866775"/>
                <a:gd name="connsiteX78" fmla="*/ 1419701 w 3171825"/>
                <a:gd name="connsiteY78" fmla="*/ 569119 h 866775"/>
                <a:gd name="connsiteX79" fmla="*/ 1529239 w 3171825"/>
                <a:gd name="connsiteY79" fmla="*/ 518636 h 866775"/>
                <a:gd name="connsiteX80" fmla="*/ 1640681 w 3171825"/>
                <a:gd name="connsiteY80" fmla="*/ 576739 h 866775"/>
                <a:gd name="connsiteX81" fmla="*/ 1813084 w 3171825"/>
                <a:gd name="connsiteY81" fmla="*/ 459581 h 866775"/>
                <a:gd name="connsiteX82" fmla="*/ 1868329 w 3171825"/>
                <a:gd name="connsiteY82" fmla="*/ 576739 h 866775"/>
                <a:gd name="connsiteX83" fmla="*/ 1980724 w 3171825"/>
                <a:gd name="connsiteY83" fmla="*/ 273844 h 866775"/>
                <a:gd name="connsiteX84" fmla="*/ 2074069 w 3171825"/>
                <a:gd name="connsiteY84" fmla="*/ 601504 h 866775"/>
                <a:gd name="connsiteX85" fmla="*/ 2198846 w 3171825"/>
                <a:gd name="connsiteY85" fmla="*/ 312896 h 866775"/>
                <a:gd name="connsiteX86" fmla="*/ 2307432 w 3171825"/>
                <a:gd name="connsiteY86" fmla="*/ 576739 h 866775"/>
                <a:gd name="connsiteX87" fmla="*/ 2412207 w 3171825"/>
                <a:gd name="connsiteY87" fmla="*/ 428149 h 866775"/>
                <a:gd name="connsiteX88" fmla="*/ 2521744 w 3171825"/>
                <a:gd name="connsiteY88" fmla="*/ 576739 h 866775"/>
                <a:gd name="connsiteX89" fmla="*/ 2618899 w 3171825"/>
                <a:gd name="connsiteY89" fmla="*/ 486251 h 866775"/>
                <a:gd name="connsiteX90" fmla="*/ 2670334 w 3171825"/>
                <a:gd name="connsiteY90" fmla="*/ 576739 h 866775"/>
                <a:gd name="connsiteX91" fmla="*/ 2803684 w 3171825"/>
                <a:gd name="connsiteY91" fmla="*/ 274796 h 866775"/>
                <a:gd name="connsiteX92" fmla="*/ 2947511 w 3171825"/>
                <a:gd name="connsiteY92" fmla="*/ 576739 h 866775"/>
                <a:gd name="connsiteX93" fmla="*/ 3040857 w 3171825"/>
                <a:gd name="connsiteY93" fmla="*/ 474821 h 866775"/>
                <a:gd name="connsiteX94" fmla="*/ 3121819 w 3171825"/>
                <a:gd name="connsiteY94" fmla="*/ 576739 h 866775"/>
                <a:gd name="connsiteX95" fmla="*/ 3169444 w 3171825"/>
                <a:gd name="connsiteY95" fmla="*/ 550069 h 866775"/>
                <a:gd name="connsiteX96" fmla="*/ 3092291 w 3171825"/>
                <a:gd name="connsiteY96" fmla="*/ 287179 h 866775"/>
                <a:gd name="connsiteX97" fmla="*/ 1267301 w 3171825"/>
                <a:gd name="connsiteY97" fmla="*/ 806291 h 866775"/>
                <a:gd name="connsiteX98" fmla="*/ 1226344 w 3171825"/>
                <a:gd name="connsiteY98" fmla="*/ 751999 h 866775"/>
                <a:gd name="connsiteX99" fmla="*/ 1353026 w 3171825"/>
                <a:gd name="connsiteY99" fmla="*/ 597694 h 866775"/>
                <a:gd name="connsiteX100" fmla="*/ 1267301 w 3171825"/>
                <a:gd name="connsiteY100" fmla="*/ 806291 h 866775"/>
                <a:gd name="connsiteX101" fmla="*/ 1614964 w 3171825"/>
                <a:gd name="connsiteY101" fmla="*/ 257651 h 866775"/>
                <a:gd name="connsiteX102" fmla="*/ 1653064 w 3171825"/>
                <a:gd name="connsiteY102" fmla="*/ 315754 h 866775"/>
                <a:gd name="connsiteX103" fmla="*/ 1569244 w 3171825"/>
                <a:gd name="connsiteY103" fmla="*/ 438626 h 866775"/>
                <a:gd name="connsiteX104" fmla="*/ 1614964 w 3171825"/>
                <a:gd name="connsiteY104" fmla="*/ 257651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171825" h="866775">
                  <a:moveTo>
                    <a:pt x="3092291" y="287179"/>
                  </a:moveTo>
                  <a:cubicBezTo>
                    <a:pt x="3092291" y="241459"/>
                    <a:pt x="3089434" y="211931"/>
                    <a:pt x="3059907" y="211931"/>
                  </a:cubicBezTo>
                  <a:cubicBezTo>
                    <a:pt x="3046571" y="211931"/>
                    <a:pt x="3039904" y="214789"/>
                    <a:pt x="3027521" y="218599"/>
                  </a:cubicBezTo>
                  <a:cubicBezTo>
                    <a:pt x="3037999" y="371951"/>
                    <a:pt x="3003709" y="507206"/>
                    <a:pt x="2960846" y="507206"/>
                  </a:cubicBezTo>
                  <a:cubicBezTo>
                    <a:pt x="2905601" y="507206"/>
                    <a:pt x="2933224" y="178594"/>
                    <a:pt x="2816066" y="178594"/>
                  </a:cubicBezTo>
                  <a:cubicBezTo>
                    <a:pt x="2707482" y="178594"/>
                    <a:pt x="2692241" y="440531"/>
                    <a:pt x="2679859" y="440531"/>
                  </a:cubicBezTo>
                  <a:cubicBezTo>
                    <a:pt x="2671286" y="440531"/>
                    <a:pt x="2670334" y="371951"/>
                    <a:pt x="2670334" y="319564"/>
                  </a:cubicBezTo>
                  <a:cubicBezTo>
                    <a:pt x="2675096" y="294799"/>
                    <a:pt x="2677001" y="271939"/>
                    <a:pt x="2677001" y="254794"/>
                  </a:cubicBezTo>
                  <a:cubicBezTo>
                    <a:pt x="2677001" y="230029"/>
                    <a:pt x="2667476" y="188119"/>
                    <a:pt x="2611279" y="209074"/>
                  </a:cubicBezTo>
                  <a:cubicBezTo>
                    <a:pt x="2613184" y="396716"/>
                    <a:pt x="2576036" y="510064"/>
                    <a:pt x="2533174" y="510064"/>
                  </a:cubicBezTo>
                  <a:cubicBezTo>
                    <a:pt x="2471261" y="510064"/>
                    <a:pt x="2470309" y="340519"/>
                    <a:pt x="2470309" y="292894"/>
                  </a:cubicBezTo>
                  <a:cubicBezTo>
                    <a:pt x="2470309" y="247174"/>
                    <a:pt x="2473166" y="186214"/>
                    <a:pt x="2405539" y="208121"/>
                  </a:cubicBezTo>
                  <a:cubicBezTo>
                    <a:pt x="2395061" y="371951"/>
                    <a:pt x="2352199" y="494824"/>
                    <a:pt x="2325529" y="494824"/>
                  </a:cubicBezTo>
                  <a:cubicBezTo>
                    <a:pt x="2285524" y="494824"/>
                    <a:pt x="2293144" y="211931"/>
                    <a:pt x="2206466" y="211931"/>
                  </a:cubicBezTo>
                  <a:cubicBezTo>
                    <a:pt x="2128361" y="211931"/>
                    <a:pt x="2103596" y="479584"/>
                    <a:pt x="2087404" y="479584"/>
                  </a:cubicBezTo>
                  <a:cubicBezTo>
                    <a:pt x="2057876" y="479584"/>
                    <a:pt x="2096929" y="178594"/>
                    <a:pt x="1983581" y="178594"/>
                  </a:cubicBezTo>
                  <a:cubicBezTo>
                    <a:pt x="1924526" y="178594"/>
                    <a:pt x="1900714" y="279559"/>
                    <a:pt x="1877854" y="391954"/>
                  </a:cubicBezTo>
                  <a:cubicBezTo>
                    <a:pt x="1873091" y="413861"/>
                    <a:pt x="1868329" y="414814"/>
                    <a:pt x="1867376" y="390049"/>
                  </a:cubicBezTo>
                  <a:cubicBezTo>
                    <a:pt x="1866424" y="370046"/>
                    <a:pt x="1866424" y="347186"/>
                    <a:pt x="1866424" y="327184"/>
                  </a:cubicBezTo>
                  <a:cubicBezTo>
                    <a:pt x="1894999" y="213836"/>
                    <a:pt x="1859756" y="171926"/>
                    <a:pt x="1807369" y="202406"/>
                  </a:cubicBezTo>
                  <a:cubicBezTo>
                    <a:pt x="1824514" y="411004"/>
                    <a:pt x="1728311" y="512921"/>
                    <a:pt x="1654969" y="512921"/>
                  </a:cubicBezTo>
                  <a:cubicBezTo>
                    <a:pt x="1628299" y="512921"/>
                    <a:pt x="1607344" y="501491"/>
                    <a:pt x="1592104" y="483394"/>
                  </a:cubicBezTo>
                  <a:cubicBezTo>
                    <a:pt x="1680686" y="429101"/>
                    <a:pt x="1719739" y="367189"/>
                    <a:pt x="1719739" y="306229"/>
                  </a:cubicBezTo>
                  <a:cubicBezTo>
                    <a:pt x="1719739" y="240506"/>
                    <a:pt x="1681639" y="202406"/>
                    <a:pt x="1619726" y="202406"/>
                  </a:cubicBezTo>
                  <a:cubicBezTo>
                    <a:pt x="1532096" y="202406"/>
                    <a:pt x="1483519" y="292894"/>
                    <a:pt x="1483519" y="369094"/>
                  </a:cubicBezTo>
                  <a:cubicBezTo>
                    <a:pt x="1483519" y="410051"/>
                    <a:pt x="1491139" y="445294"/>
                    <a:pt x="1503521" y="473869"/>
                  </a:cubicBezTo>
                  <a:cubicBezTo>
                    <a:pt x="1473041" y="488156"/>
                    <a:pt x="1445419" y="500539"/>
                    <a:pt x="1418749" y="512921"/>
                  </a:cubicBezTo>
                  <a:cubicBezTo>
                    <a:pt x="1416844" y="433864"/>
                    <a:pt x="1407319" y="350996"/>
                    <a:pt x="1400651" y="274796"/>
                  </a:cubicBezTo>
                  <a:cubicBezTo>
                    <a:pt x="1353979" y="262414"/>
                    <a:pt x="1340644" y="284321"/>
                    <a:pt x="1336834" y="326231"/>
                  </a:cubicBezTo>
                  <a:cubicBezTo>
                    <a:pt x="1328261" y="420529"/>
                    <a:pt x="1293971" y="479584"/>
                    <a:pt x="1262539" y="479584"/>
                  </a:cubicBezTo>
                  <a:cubicBezTo>
                    <a:pt x="1239679" y="479584"/>
                    <a:pt x="1225391" y="451009"/>
                    <a:pt x="1223486" y="421481"/>
                  </a:cubicBezTo>
                  <a:cubicBezTo>
                    <a:pt x="1214914" y="270034"/>
                    <a:pt x="1337786" y="228124"/>
                    <a:pt x="1402556" y="250031"/>
                  </a:cubicBezTo>
                  <a:cubicBezTo>
                    <a:pt x="1415891" y="216694"/>
                    <a:pt x="1401604" y="192881"/>
                    <a:pt x="1343501" y="192881"/>
                  </a:cubicBezTo>
                  <a:cubicBezTo>
                    <a:pt x="1273016" y="192881"/>
                    <a:pt x="1220629" y="235744"/>
                    <a:pt x="1181576" y="290989"/>
                  </a:cubicBezTo>
                  <a:cubicBezTo>
                    <a:pt x="1155859" y="327184"/>
                    <a:pt x="1126331" y="353854"/>
                    <a:pt x="1086326" y="385286"/>
                  </a:cubicBezTo>
                  <a:cubicBezTo>
                    <a:pt x="1087279" y="375761"/>
                    <a:pt x="1088231" y="367189"/>
                    <a:pt x="1088231" y="358616"/>
                  </a:cubicBezTo>
                  <a:cubicBezTo>
                    <a:pt x="1088231" y="251936"/>
                    <a:pt x="1030129" y="204311"/>
                    <a:pt x="974884" y="204311"/>
                  </a:cubicBezTo>
                  <a:cubicBezTo>
                    <a:pt x="929164" y="204311"/>
                    <a:pt x="900589" y="231934"/>
                    <a:pt x="883444" y="273844"/>
                  </a:cubicBezTo>
                  <a:cubicBezTo>
                    <a:pt x="879634" y="231934"/>
                    <a:pt x="871061" y="213836"/>
                    <a:pt x="846296" y="213836"/>
                  </a:cubicBezTo>
                  <a:cubicBezTo>
                    <a:pt x="835819" y="213836"/>
                    <a:pt x="821531" y="216694"/>
                    <a:pt x="805339" y="224314"/>
                  </a:cubicBezTo>
                  <a:cubicBezTo>
                    <a:pt x="812959" y="248126"/>
                    <a:pt x="814864" y="300514"/>
                    <a:pt x="814864" y="334804"/>
                  </a:cubicBezTo>
                  <a:cubicBezTo>
                    <a:pt x="814864" y="463391"/>
                    <a:pt x="777716" y="520541"/>
                    <a:pt x="742474" y="520541"/>
                  </a:cubicBezTo>
                  <a:cubicBezTo>
                    <a:pt x="701516" y="520541"/>
                    <a:pt x="695801" y="368141"/>
                    <a:pt x="691991" y="309086"/>
                  </a:cubicBezTo>
                  <a:cubicBezTo>
                    <a:pt x="687229" y="307181"/>
                    <a:pt x="681514" y="305276"/>
                    <a:pt x="671989" y="305276"/>
                  </a:cubicBezTo>
                  <a:cubicBezTo>
                    <a:pt x="635794" y="305276"/>
                    <a:pt x="631031" y="354806"/>
                    <a:pt x="621506" y="399574"/>
                  </a:cubicBezTo>
                  <a:cubicBezTo>
                    <a:pt x="611029" y="450056"/>
                    <a:pt x="582454" y="512921"/>
                    <a:pt x="539591" y="512921"/>
                  </a:cubicBezTo>
                  <a:cubicBezTo>
                    <a:pt x="513874" y="512921"/>
                    <a:pt x="497681" y="488156"/>
                    <a:pt x="495776" y="443389"/>
                  </a:cubicBezTo>
                  <a:cubicBezTo>
                    <a:pt x="491966" y="352901"/>
                    <a:pt x="567214" y="245269"/>
                    <a:pt x="685324" y="278606"/>
                  </a:cubicBezTo>
                  <a:cubicBezTo>
                    <a:pt x="700564" y="242411"/>
                    <a:pt x="676751" y="214789"/>
                    <a:pt x="627221" y="214789"/>
                  </a:cubicBezTo>
                  <a:cubicBezTo>
                    <a:pt x="540544" y="214789"/>
                    <a:pt x="469106" y="279559"/>
                    <a:pt x="437674" y="355759"/>
                  </a:cubicBezTo>
                  <a:cubicBezTo>
                    <a:pt x="406241" y="426244"/>
                    <a:pt x="350996" y="529114"/>
                    <a:pt x="237649" y="529114"/>
                  </a:cubicBezTo>
                  <a:cubicBezTo>
                    <a:pt x="157639" y="529114"/>
                    <a:pt x="97631" y="459581"/>
                    <a:pt x="97631" y="313849"/>
                  </a:cubicBezTo>
                  <a:cubicBezTo>
                    <a:pt x="97631" y="188119"/>
                    <a:pt x="176689" y="69056"/>
                    <a:pt x="261461" y="69056"/>
                  </a:cubicBezTo>
                  <a:cubicBezTo>
                    <a:pt x="320516" y="69056"/>
                    <a:pt x="333851" y="127159"/>
                    <a:pt x="329089" y="181451"/>
                  </a:cubicBezTo>
                  <a:cubicBezTo>
                    <a:pt x="359569" y="206216"/>
                    <a:pt x="410051" y="183356"/>
                    <a:pt x="410051" y="121444"/>
                  </a:cubicBezTo>
                  <a:cubicBezTo>
                    <a:pt x="410051" y="79534"/>
                    <a:pt x="375761" y="7144"/>
                    <a:pt x="265271" y="7144"/>
                  </a:cubicBezTo>
                  <a:cubicBezTo>
                    <a:pt x="128111" y="7144"/>
                    <a:pt x="7144" y="144304"/>
                    <a:pt x="7144" y="324326"/>
                  </a:cubicBezTo>
                  <a:cubicBezTo>
                    <a:pt x="7144" y="498634"/>
                    <a:pt x="95726" y="601504"/>
                    <a:pt x="220504" y="601504"/>
                  </a:cubicBezTo>
                  <a:cubicBezTo>
                    <a:pt x="299561" y="601504"/>
                    <a:pt x="373856" y="556736"/>
                    <a:pt x="425291" y="472916"/>
                  </a:cubicBezTo>
                  <a:cubicBezTo>
                    <a:pt x="438626" y="545306"/>
                    <a:pt x="488156" y="576739"/>
                    <a:pt x="525304" y="576739"/>
                  </a:cubicBezTo>
                  <a:cubicBezTo>
                    <a:pt x="585311" y="576739"/>
                    <a:pt x="624364" y="537686"/>
                    <a:pt x="646271" y="485299"/>
                  </a:cubicBezTo>
                  <a:cubicBezTo>
                    <a:pt x="659606" y="537686"/>
                    <a:pt x="688181" y="576739"/>
                    <a:pt x="734854" y="576739"/>
                  </a:cubicBezTo>
                  <a:cubicBezTo>
                    <a:pt x="768191" y="576739"/>
                    <a:pt x="793909" y="559594"/>
                    <a:pt x="812959" y="532924"/>
                  </a:cubicBezTo>
                  <a:cubicBezTo>
                    <a:pt x="805339" y="716756"/>
                    <a:pt x="795814" y="832961"/>
                    <a:pt x="904399" y="810101"/>
                  </a:cubicBezTo>
                  <a:cubicBezTo>
                    <a:pt x="887254" y="757714"/>
                    <a:pt x="882491" y="663416"/>
                    <a:pt x="882491" y="577691"/>
                  </a:cubicBezTo>
                  <a:cubicBezTo>
                    <a:pt x="882491" y="344329"/>
                    <a:pt x="920591" y="267176"/>
                    <a:pt x="969169" y="267176"/>
                  </a:cubicBezTo>
                  <a:cubicBezTo>
                    <a:pt x="1004411" y="267176"/>
                    <a:pt x="1015841" y="311944"/>
                    <a:pt x="1015841" y="359569"/>
                  </a:cubicBezTo>
                  <a:cubicBezTo>
                    <a:pt x="1015841" y="385286"/>
                    <a:pt x="1012984" y="413861"/>
                    <a:pt x="1007269" y="440531"/>
                  </a:cubicBezTo>
                  <a:cubicBezTo>
                    <a:pt x="948214" y="477679"/>
                    <a:pt x="900589" y="507206"/>
                    <a:pt x="900589" y="545306"/>
                  </a:cubicBezTo>
                  <a:cubicBezTo>
                    <a:pt x="900589" y="574834"/>
                    <a:pt x="922496" y="577691"/>
                    <a:pt x="941546" y="577691"/>
                  </a:cubicBezTo>
                  <a:cubicBezTo>
                    <a:pt x="987266" y="577691"/>
                    <a:pt x="1041559" y="532924"/>
                    <a:pt x="1072039" y="449104"/>
                  </a:cubicBezTo>
                  <a:cubicBezTo>
                    <a:pt x="1098709" y="432911"/>
                    <a:pt x="1125379" y="414814"/>
                    <a:pt x="1150144" y="390049"/>
                  </a:cubicBezTo>
                  <a:cubicBezTo>
                    <a:pt x="1149191" y="398621"/>
                    <a:pt x="1149191" y="407194"/>
                    <a:pt x="1149191" y="415766"/>
                  </a:cubicBezTo>
                  <a:cubicBezTo>
                    <a:pt x="1149191" y="499586"/>
                    <a:pt x="1185386" y="550069"/>
                    <a:pt x="1244441" y="550069"/>
                  </a:cubicBezTo>
                  <a:cubicBezTo>
                    <a:pt x="1290161" y="550069"/>
                    <a:pt x="1324451" y="517684"/>
                    <a:pt x="1349216" y="469106"/>
                  </a:cubicBezTo>
                  <a:cubicBezTo>
                    <a:pt x="1351121" y="496729"/>
                    <a:pt x="1352074" y="523399"/>
                    <a:pt x="1352074" y="547211"/>
                  </a:cubicBezTo>
                  <a:cubicBezTo>
                    <a:pt x="1258729" y="590074"/>
                    <a:pt x="1155859" y="633889"/>
                    <a:pt x="1155859" y="754856"/>
                  </a:cubicBezTo>
                  <a:cubicBezTo>
                    <a:pt x="1155859" y="817721"/>
                    <a:pt x="1201579" y="864394"/>
                    <a:pt x="1259681" y="864394"/>
                  </a:cubicBezTo>
                  <a:cubicBezTo>
                    <a:pt x="1389221" y="864394"/>
                    <a:pt x="1418749" y="728186"/>
                    <a:pt x="1419701" y="569119"/>
                  </a:cubicBezTo>
                  <a:cubicBezTo>
                    <a:pt x="1461611" y="551021"/>
                    <a:pt x="1493044" y="536734"/>
                    <a:pt x="1529239" y="518636"/>
                  </a:cubicBezTo>
                  <a:cubicBezTo>
                    <a:pt x="1560671" y="557689"/>
                    <a:pt x="1602581" y="576739"/>
                    <a:pt x="1640681" y="576739"/>
                  </a:cubicBezTo>
                  <a:cubicBezTo>
                    <a:pt x="1714024" y="576739"/>
                    <a:pt x="1768316" y="537686"/>
                    <a:pt x="1813084" y="459581"/>
                  </a:cubicBezTo>
                  <a:cubicBezTo>
                    <a:pt x="1820704" y="519589"/>
                    <a:pt x="1835944" y="576739"/>
                    <a:pt x="1868329" y="576739"/>
                  </a:cubicBezTo>
                  <a:cubicBezTo>
                    <a:pt x="1926431" y="576739"/>
                    <a:pt x="1937861" y="273844"/>
                    <a:pt x="1980724" y="273844"/>
                  </a:cubicBezTo>
                  <a:cubicBezTo>
                    <a:pt x="2014061" y="273844"/>
                    <a:pt x="1986439" y="601504"/>
                    <a:pt x="2074069" y="601504"/>
                  </a:cubicBezTo>
                  <a:cubicBezTo>
                    <a:pt x="2148364" y="601504"/>
                    <a:pt x="2162651" y="312896"/>
                    <a:pt x="2198846" y="312896"/>
                  </a:cubicBezTo>
                  <a:cubicBezTo>
                    <a:pt x="2224564" y="312896"/>
                    <a:pt x="2226469" y="576739"/>
                    <a:pt x="2307432" y="576739"/>
                  </a:cubicBezTo>
                  <a:cubicBezTo>
                    <a:pt x="2347436" y="576739"/>
                    <a:pt x="2390299" y="529114"/>
                    <a:pt x="2412207" y="428149"/>
                  </a:cubicBezTo>
                  <a:cubicBezTo>
                    <a:pt x="2422684" y="494824"/>
                    <a:pt x="2456021" y="576739"/>
                    <a:pt x="2521744" y="576739"/>
                  </a:cubicBezTo>
                  <a:cubicBezTo>
                    <a:pt x="2559844" y="576739"/>
                    <a:pt x="2593182" y="537686"/>
                    <a:pt x="2618899" y="486251"/>
                  </a:cubicBezTo>
                  <a:cubicBezTo>
                    <a:pt x="2625566" y="539591"/>
                    <a:pt x="2640807" y="576739"/>
                    <a:pt x="2670334" y="576739"/>
                  </a:cubicBezTo>
                  <a:cubicBezTo>
                    <a:pt x="2746534" y="576739"/>
                    <a:pt x="2743676" y="274796"/>
                    <a:pt x="2803684" y="274796"/>
                  </a:cubicBezTo>
                  <a:cubicBezTo>
                    <a:pt x="2850357" y="274796"/>
                    <a:pt x="2836069" y="576739"/>
                    <a:pt x="2947511" y="576739"/>
                  </a:cubicBezTo>
                  <a:cubicBezTo>
                    <a:pt x="3000851" y="576739"/>
                    <a:pt x="3025616" y="531971"/>
                    <a:pt x="3040857" y="474821"/>
                  </a:cubicBezTo>
                  <a:cubicBezTo>
                    <a:pt x="3061811" y="558641"/>
                    <a:pt x="3094196" y="576739"/>
                    <a:pt x="3121819" y="576739"/>
                  </a:cubicBezTo>
                  <a:cubicBezTo>
                    <a:pt x="3138964" y="576739"/>
                    <a:pt x="3152299" y="571024"/>
                    <a:pt x="3169444" y="550069"/>
                  </a:cubicBezTo>
                  <a:cubicBezTo>
                    <a:pt x="3085624" y="511969"/>
                    <a:pt x="3092291" y="375761"/>
                    <a:pt x="3092291" y="287179"/>
                  </a:cubicBezTo>
                  <a:close/>
                  <a:moveTo>
                    <a:pt x="1267301" y="806291"/>
                  </a:moveTo>
                  <a:cubicBezTo>
                    <a:pt x="1240631" y="806291"/>
                    <a:pt x="1226344" y="780574"/>
                    <a:pt x="1226344" y="751999"/>
                  </a:cubicBezTo>
                  <a:cubicBezTo>
                    <a:pt x="1226344" y="674846"/>
                    <a:pt x="1283494" y="632936"/>
                    <a:pt x="1353026" y="597694"/>
                  </a:cubicBezTo>
                  <a:cubicBezTo>
                    <a:pt x="1349216" y="768191"/>
                    <a:pt x="1310164" y="806291"/>
                    <a:pt x="1267301" y="806291"/>
                  </a:cubicBezTo>
                  <a:close/>
                  <a:moveTo>
                    <a:pt x="1614964" y="257651"/>
                  </a:moveTo>
                  <a:cubicBezTo>
                    <a:pt x="1640681" y="257651"/>
                    <a:pt x="1655921" y="281464"/>
                    <a:pt x="1653064" y="315754"/>
                  </a:cubicBezTo>
                  <a:cubicBezTo>
                    <a:pt x="1650206" y="355759"/>
                    <a:pt x="1620679" y="402431"/>
                    <a:pt x="1569244" y="438626"/>
                  </a:cubicBezTo>
                  <a:cubicBezTo>
                    <a:pt x="1543526" y="362426"/>
                    <a:pt x="1563529" y="257651"/>
                    <a:pt x="1614964" y="25765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BD59524-FC2F-4010-84DA-993F7FDF8E39}"/>
                </a:ext>
              </a:extLst>
            </p:cNvPr>
            <p:cNvSpPr/>
            <p:nvPr/>
          </p:nvSpPr>
          <p:spPr>
            <a:xfrm>
              <a:off x="10915493" y="643771"/>
              <a:ext cx="54409" cy="59850"/>
            </a:xfrm>
            <a:custGeom>
              <a:avLst/>
              <a:gdLst>
                <a:gd name="connsiteX0" fmla="*/ 51942 w 95250"/>
                <a:gd name="connsiteY0" fmla="*/ 99569 h 104775"/>
                <a:gd name="connsiteX1" fmla="*/ 93853 w 95250"/>
                <a:gd name="connsiteY1" fmla="*/ 51944 h 104775"/>
                <a:gd name="connsiteX2" fmla="*/ 51942 w 95250"/>
                <a:gd name="connsiteY2" fmla="*/ 7176 h 104775"/>
                <a:gd name="connsiteX3" fmla="*/ 7175 w 95250"/>
                <a:gd name="connsiteY3" fmla="*/ 54801 h 104775"/>
                <a:gd name="connsiteX4" fmla="*/ 51942 w 95250"/>
                <a:gd name="connsiteY4" fmla="*/ 99569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104775">
                  <a:moveTo>
                    <a:pt x="51942" y="99569"/>
                  </a:moveTo>
                  <a:cubicBezTo>
                    <a:pt x="76707" y="98616"/>
                    <a:pt x="93853" y="77661"/>
                    <a:pt x="93853" y="51944"/>
                  </a:cubicBezTo>
                  <a:cubicBezTo>
                    <a:pt x="93853" y="26226"/>
                    <a:pt x="76707" y="6224"/>
                    <a:pt x="51942" y="7176"/>
                  </a:cubicBezTo>
                  <a:cubicBezTo>
                    <a:pt x="27178" y="8129"/>
                    <a:pt x="7175" y="29084"/>
                    <a:pt x="7175" y="54801"/>
                  </a:cubicBezTo>
                  <a:cubicBezTo>
                    <a:pt x="6222" y="80519"/>
                    <a:pt x="27178" y="100521"/>
                    <a:pt x="51942" y="99569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C87D9DE-F14A-4987-BCDE-FFB5E928DDE8}"/>
                </a:ext>
              </a:extLst>
            </p:cNvPr>
            <p:cNvSpPr/>
            <p:nvPr/>
          </p:nvSpPr>
          <p:spPr>
            <a:xfrm>
              <a:off x="11270254" y="654106"/>
              <a:ext cx="54409" cy="54409"/>
            </a:xfrm>
            <a:custGeom>
              <a:avLst/>
              <a:gdLst>
                <a:gd name="connsiteX0" fmla="*/ 48101 w 95250"/>
                <a:gd name="connsiteY0" fmla="*/ 94808 h 95250"/>
                <a:gd name="connsiteX1" fmla="*/ 89059 w 95250"/>
                <a:gd name="connsiteY1" fmla="*/ 49088 h 95250"/>
                <a:gd name="connsiteX2" fmla="*/ 48101 w 95250"/>
                <a:gd name="connsiteY2" fmla="*/ 7178 h 95250"/>
                <a:gd name="connsiteX3" fmla="*/ 7144 w 95250"/>
                <a:gd name="connsiteY3" fmla="*/ 52898 h 95250"/>
                <a:gd name="connsiteX4" fmla="*/ 48101 w 95250"/>
                <a:gd name="connsiteY4" fmla="*/ 948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48101" y="94808"/>
                  </a:moveTo>
                  <a:cubicBezTo>
                    <a:pt x="70961" y="93856"/>
                    <a:pt x="89059" y="73853"/>
                    <a:pt x="89059" y="49088"/>
                  </a:cubicBezTo>
                  <a:cubicBezTo>
                    <a:pt x="89059" y="25275"/>
                    <a:pt x="70961" y="6225"/>
                    <a:pt x="48101" y="7178"/>
                  </a:cubicBezTo>
                  <a:cubicBezTo>
                    <a:pt x="25241" y="8131"/>
                    <a:pt x="7144" y="28133"/>
                    <a:pt x="7144" y="52898"/>
                  </a:cubicBezTo>
                  <a:cubicBezTo>
                    <a:pt x="8096" y="76711"/>
                    <a:pt x="26194" y="95761"/>
                    <a:pt x="48101" y="94808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E592DFD-D940-4FE8-AF9E-A589F49579FF}"/>
                </a:ext>
              </a:extLst>
            </p:cNvPr>
            <p:cNvSpPr/>
            <p:nvPr/>
          </p:nvSpPr>
          <p:spPr>
            <a:xfrm>
              <a:off x="11384515" y="612775"/>
              <a:ext cx="397182" cy="331893"/>
            </a:xfrm>
            <a:custGeom>
              <a:avLst/>
              <a:gdLst>
                <a:gd name="connsiteX0" fmla="*/ 689134 w 695325"/>
                <a:gd name="connsiteY0" fmla="*/ 368141 h 581025"/>
                <a:gd name="connsiteX1" fmla="*/ 571024 w 695325"/>
                <a:gd name="connsiteY1" fmla="*/ 127159 h 581025"/>
                <a:gd name="connsiteX2" fmla="*/ 388144 w 695325"/>
                <a:gd name="connsiteY2" fmla="*/ 13811 h 581025"/>
                <a:gd name="connsiteX3" fmla="*/ 371951 w 695325"/>
                <a:gd name="connsiteY3" fmla="*/ 7144 h 581025"/>
                <a:gd name="connsiteX4" fmla="*/ 371951 w 695325"/>
                <a:gd name="connsiteY4" fmla="*/ 7144 h 581025"/>
                <a:gd name="connsiteX5" fmla="*/ 371951 w 695325"/>
                <a:gd name="connsiteY5" fmla="*/ 7144 h 581025"/>
                <a:gd name="connsiteX6" fmla="*/ 7144 w 695325"/>
                <a:gd name="connsiteY6" fmla="*/ 383381 h 581025"/>
                <a:gd name="connsiteX7" fmla="*/ 132874 w 695325"/>
                <a:gd name="connsiteY7" fmla="*/ 569119 h 581025"/>
                <a:gd name="connsiteX8" fmla="*/ 262414 w 695325"/>
                <a:gd name="connsiteY8" fmla="*/ 571976 h 581025"/>
                <a:gd name="connsiteX9" fmla="*/ 358616 w 695325"/>
                <a:gd name="connsiteY9" fmla="*/ 506254 h 581025"/>
                <a:gd name="connsiteX10" fmla="*/ 577692 w 695325"/>
                <a:gd name="connsiteY10" fmla="*/ 271939 h 581025"/>
                <a:gd name="connsiteX11" fmla="*/ 690086 w 695325"/>
                <a:gd name="connsiteY11" fmla="*/ 374809 h 581025"/>
                <a:gd name="connsiteX12" fmla="*/ 689134 w 695325"/>
                <a:gd name="connsiteY12" fmla="*/ 368141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5325" h="581025">
                  <a:moveTo>
                    <a:pt x="689134" y="368141"/>
                  </a:moveTo>
                  <a:cubicBezTo>
                    <a:pt x="687229" y="271939"/>
                    <a:pt x="641509" y="191929"/>
                    <a:pt x="571024" y="127159"/>
                  </a:cubicBezTo>
                  <a:cubicBezTo>
                    <a:pt x="517684" y="78581"/>
                    <a:pt x="453866" y="41434"/>
                    <a:pt x="388144" y="13811"/>
                  </a:cubicBezTo>
                  <a:cubicBezTo>
                    <a:pt x="382429" y="11906"/>
                    <a:pt x="377666" y="9049"/>
                    <a:pt x="371951" y="7144"/>
                  </a:cubicBezTo>
                  <a:lnTo>
                    <a:pt x="371951" y="7144"/>
                  </a:lnTo>
                  <a:cubicBezTo>
                    <a:pt x="371951" y="7144"/>
                    <a:pt x="371951" y="7144"/>
                    <a:pt x="371951" y="7144"/>
                  </a:cubicBezTo>
                  <a:cubicBezTo>
                    <a:pt x="290036" y="105251"/>
                    <a:pt x="7144" y="178594"/>
                    <a:pt x="7144" y="383381"/>
                  </a:cubicBezTo>
                  <a:cubicBezTo>
                    <a:pt x="7144" y="463391"/>
                    <a:pt x="57626" y="538639"/>
                    <a:pt x="132874" y="569119"/>
                  </a:cubicBezTo>
                  <a:cubicBezTo>
                    <a:pt x="175736" y="585311"/>
                    <a:pt x="219551" y="586264"/>
                    <a:pt x="262414" y="571976"/>
                  </a:cubicBezTo>
                  <a:cubicBezTo>
                    <a:pt x="300514" y="559594"/>
                    <a:pt x="332899" y="535781"/>
                    <a:pt x="358616" y="506254"/>
                  </a:cubicBezTo>
                  <a:cubicBezTo>
                    <a:pt x="441484" y="413861"/>
                    <a:pt x="475774" y="271939"/>
                    <a:pt x="577692" y="271939"/>
                  </a:cubicBezTo>
                  <a:cubicBezTo>
                    <a:pt x="671036" y="271939"/>
                    <a:pt x="683419" y="338614"/>
                    <a:pt x="690086" y="374809"/>
                  </a:cubicBezTo>
                  <a:cubicBezTo>
                    <a:pt x="689134" y="373856"/>
                    <a:pt x="689134" y="371951"/>
                    <a:pt x="689134" y="368141"/>
                  </a:cubicBezTo>
                  <a:close/>
                </a:path>
              </a:pathLst>
            </a:custGeom>
            <a:solidFill>
              <a:srgbClr val="0072AF"/>
            </a:solidFill>
            <a:ln w="9525" cap="flat">
              <a:noFill/>
              <a:prstDash val="solid"/>
              <a:miter/>
            </a:ln>
          </p:spPr>
          <p:txBody>
            <a:bodyPr lIns="73152" tIns="36576" rIns="73152" bIns="36576"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70586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5" descr="A group of people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37EA9ACA-DE49-4326-B25D-5D35564A95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0854972-816B-414A-A2BD-03075468EF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24600" y="0"/>
            <a:ext cx="586738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Graphic 1">
            <a:extLst>
              <a:ext uri="{FF2B5EF4-FFF2-40B4-BE49-F238E27FC236}">
                <a16:creationId xmlns:a16="http://schemas.microsoft.com/office/drawing/2014/main" id="{156C9D3B-82EB-488A-B60D-6FB7CD240D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20535171">
            <a:off x="1131019" y="256065"/>
            <a:ext cx="14425764" cy="6673332"/>
          </a:xfrm>
          <a:custGeom>
            <a:avLst/>
            <a:gdLst>
              <a:gd name="connsiteX0" fmla="*/ 7215188 w 7239000"/>
              <a:gd name="connsiteY0" fmla="*/ 3278548 h 3278547"/>
              <a:gd name="connsiteX1" fmla="*/ 6557010 w 7239000"/>
              <a:gd name="connsiteY1" fmla="*/ 2329858 h 3278547"/>
              <a:gd name="connsiteX2" fmla="*/ 4255770 w 7239000"/>
              <a:gd name="connsiteY2" fmla="*/ 41000 h 3278547"/>
              <a:gd name="connsiteX3" fmla="*/ 4255770 w 7239000"/>
              <a:gd name="connsiteY3" fmla="*/ 41000 h 3278547"/>
              <a:gd name="connsiteX4" fmla="*/ 4247198 w 7239000"/>
              <a:gd name="connsiteY4" fmla="*/ 40048 h 3278547"/>
              <a:gd name="connsiteX5" fmla="*/ 4245293 w 7239000"/>
              <a:gd name="connsiteY5" fmla="*/ 40048 h 3278547"/>
              <a:gd name="connsiteX6" fmla="*/ 2178368 w 7239000"/>
              <a:gd name="connsiteY6" fmla="*/ 949685 h 3278547"/>
              <a:gd name="connsiteX7" fmla="*/ 2162175 w 7239000"/>
              <a:gd name="connsiteY7" fmla="*/ 963973 h 3278547"/>
              <a:gd name="connsiteX8" fmla="*/ 2172653 w 7239000"/>
              <a:gd name="connsiteY8" fmla="*/ 985880 h 3278547"/>
              <a:gd name="connsiteX9" fmla="*/ 2628900 w 7239000"/>
              <a:gd name="connsiteY9" fmla="*/ 2749910 h 3278547"/>
              <a:gd name="connsiteX10" fmla="*/ 1949768 w 7239000"/>
              <a:gd name="connsiteY10" fmla="*/ 2512738 h 3278547"/>
              <a:gd name="connsiteX11" fmla="*/ 1019175 w 7239000"/>
              <a:gd name="connsiteY11" fmla="*/ 2072683 h 3278547"/>
              <a:gd name="connsiteX12" fmla="*/ 36195 w 7239000"/>
              <a:gd name="connsiteY12" fmla="*/ 3269023 h 3278547"/>
              <a:gd name="connsiteX13" fmla="*/ 0 w 7239000"/>
              <a:gd name="connsiteY13" fmla="*/ 3257593 h 3278547"/>
              <a:gd name="connsiteX14" fmla="*/ 270510 w 7239000"/>
              <a:gd name="connsiteY14" fmla="*/ 2655613 h 3278547"/>
              <a:gd name="connsiteX15" fmla="*/ 1018223 w 7239000"/>
              <a:gd name="connsiteY15" fmla="*/ 2034583 h 3278547"/>
              <a:gd name="connsiteX16" fmla="*/ 1971675 w 7239000"/>
              <a:gd name="connsiteY16" fmla="*/ 2481305 h 3278547"/>
              <a:gd name="connsiteX17" fmla="*/ 2599373 w 7239000"/>
              <a:gd name="connsiteY17" fmla="*/ 2725146 h 3278547"/>
              <a:gd name="connsiteX18" fmla="*/ 2138363 w 7239000"/>
              <a:gd name="connsiteY18" fmla="*/ 1002073 h 3278547"/>
              <a:gd name="connsiteX19" fmla="*/ 2122170 w 7239000"/>
              <a:gd name="connsiteY19" fmla="*/ 967783 h 3278547"/>
              <a:gd name="connsiteX20" fmla="*/ 2116455 w 7239000"/>
              <a:gd name="connsiteY20" fmla="*/ 955400 h 3278547"/>
              <a:gd name="connsiteX21" fmla="*/ 2126933 w 7239000"/>
              <a:gd name="connsiteY21" fmla="*/ 945875 h 3278547"/>
              <a:gd name="connsiteX22" fmla="*/ 2152650 w 7239000"/>
              <a:gd name="connsiteY22" fmla="*/ 922063 h 3278547"/>
              <a:gd name="connsiteX23" fmla="*/ 2890838 w 7239000"/>
              <a:gd name="connsiteY23" fmla="*/ 369613 h 3278547"/>
              <a:gd name="connsiteX24" fmla="*/ 4248150 w 7239000"/>
              <a:gd name="connsiteY24" fmla="*/ 2900 h 3278547"/>
              <a:gd name="connsiteX25" fmla="*/ 4252913 w 7239000"/>
              <a:gd name="connsiteY25" fmla="*/ 2900 h 3278547"/>
              <a:gd name="connsiteX26" fmla="*/ 4252913 w 7239000"/>
              <a:gd name="connsiteY26" fmla="*/ 2900 h 3278547"/>
              <a:gd name="connsiteX27" fmla="*/ 6590348 w 7239000"/>
              <a:gd name="connsiteY27" fmla="*/ 2310808 h 3278547"/>
              <a:gd name="connsiteX28" fmla="*/ 7239000 w 7239000"/>
              <a:gd name="connsiteY28" fmla="*/ 3249021 h 3278547"/>
              <a:gd name="connsiteX29" fmla="*/ 7215188 w 7239000"/>
              <a:gd name="connsiteY29" fmla="*/ 3278548 h 3278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239000" h="3278547">
                <a:moveTo>
                  <a:pt x="7215188" y="3278548"/>
                </a:moveTo>
                <a:cubicBezTo>
                  <a:pt x="7036118" y="3138530"/>
                  <a:pt x="6814185" y="2764198"/>
                  <a:pt x="6557010" y="2329858"/>
                </a:cubicBezTo>
                <a:cubicBezTo>
                  <a:pt x="5998845" y="1386883"/>
                  <a:pt x="5233988" y="96245"/>
                  <a:pt x="4255770" y="41000"/>
                </a:cubicBezTo>
                <a:lnTo>
                  <a:pt x="4255770" y="41000"/>
                </a:lnTo>
                <a:lnTo>
                  <a:pt x="4247198" y="40048"/>
                </a:lnTo>
                <a:cubicBezTo>
                  <a:pt x="4246245" y="40048"/>
                  <a:pt x="4245293" y="40048"/>
                  <a:pt x="4245293" y="40048"/>
                </a:cubicBezTo>
                <a:cubicBezTo>
                  <a:pt x="3781425" y="14330"/>
                  <a:pt x="3046095" y="151490"/>
                  <a:pt x="2178368" y="949685"/>
                </a:cubicBezTo>
                <a:cubicBezTo>
                  <a:pt x="2172653" y="955400"/>
                  <a:pt x="2166938" y="960163"/>
                  <a:pt x="2162175" y="963973"/>
                </a:cubicBezTo>
                <a:cubicBezTo>
                  <a:pt x="2165033" y="970640"/>
                  <a:pt x="2168843" y="977308"/>
                  <a:pt x="2172653" y="985880"/>
                </a:cubicBezTo>
                <a:cubicBezTo>
                  <a:pt x="2486025" y="1663108"/>
                  <a:pt x="2820353" y="2519405"/>
                  <a:pt x="2628900" y="2749910"/>
                </a:cubicBezTo>
                <a:cubicBezTo>
                  <a:pt x="2499360" y="2905168"/>
                  <a:pt x="2245043" y="2723240"/>
                  <a:pt x="1949768" y="2512738"/>
                </a:cubicBezTo>
                <a:cubicBezTo>
                  <a:pt x="1655445" y="2302235"/>
                  <a:pt x="1322070" y="2064110"/>
                  <a:pt x="1019175" y="2072683"/>
                </a:cubicBezTo>
                <a:cubicBezTo>
                  <a:pt x="422910" y="2089828"/>
                  <a:pt x="40005" y="3257593"/>
                  <a:pt x="36195" y="3269023"/>
                </a:cubicBezTo>
                <a:lnTo>
                  <a:pt x="0" y="3257593"/>
                </a:lnTo>
                <a:cubicBezTo>
                  <a:pt x="953" y="3254735"/>
                  <a:pt x="98108" y="2953746"/>
                  <a:pt x="270510" y="2655613"/>
                </a:cubicBezTo>
                <a:cubicBezTo>
                  <a:pt x="503873" y="2250800"/>
                  <a:pt x="755333" y="2042203"/>
                  <a:pt x="1018223" y="2034583"/>
                </a:cubicBezTo>
                <a:cubicBezTo>
                  <a:pt x="1334453" y="2026010"/>
                  <a:pt x="1672590" y="2267945"/>
                  <a:pt x="1971675" y="2481305"/>
                </a:cubicBezTo>
                <a:cubicBezTo>
                  <a:pt x="2250758" y="2681330"/>
                  <a:pt x="2492693" y="2853733"/>
                  <a:pt x="2599373" y="2725146"/>
                </a:cubicBezTo>
                <a:cubicBezTo>
                  <a:pt x="2739390" y="2557505"/>
                  <a:pt x="2575560" y="1945048"/>
                  <a:pt x="2138363" y="1002073"/>
                </a:cubicBezTo>
                <a:cubicBezTo>
                  <a:pt x="2131695" y="986833"/>
                  <a:pt x="2125980" y="975403"/>
                  <a:pt x="2122170" y="967783"/>
                </a:cubicBezTo>
                <a:lnTo>
                  <a:pt x="2116455" y="955400"/>
                </a:lnTo>
                <a:lnTo>
                  <a:pt x="2126933" y="945875"/>
                </a:lnTo>
                <a:cubicBezTo>
                  <a:pt x="2133600" y="939208"/>
                  <a:pt x="2143125" y="931588"/>
                  <a:pt x="2152650" y="922063"/>
                </a:cubicBezTo>
                <a:cubicBezTo>
                  <a:pt x="2253615" y="828718"/>
                  <a:pt x="2522220" y="582020"/>
                  <a:pt x="2890838" y="369613"/>
                </a:cubicBezTo>
                <a:cubicBezTo>
                  <a:pt x="3353753" y="101960"/>
                  <a:pt x="3810000" y="-20912"/>
                  <a:pt x="4248150" y="2900"/>
                </a:cubicBezTo>
                <a:lnTo>
                  <a:pt x="4252913" y="2900"/>
                </a:lnTo>
                <a:lnTo>
                  <a:pt x="4252913" y="2900"/>
                </a:lnTo>
                <a:cubicBezTo>
                  <a:pt x="5253990" y="55288"/>
                  <a:pt x="6026468" y="1359260"/>
                  <a:pt x="6590348" y="2310808"/>
                </a:cubicBezTo>
                <a:cubicBezTo>
                  <a:pt x="6845618" y="2741338"/>
                  <a:pt x="7065645" y="3113765"/>
                  <a:pt x="7239000" y="3249021"/>
                </a:cubicBezTo>
                <a:lnTo>
                  <a:pt x="7215188" y="3278548"/>
                </a:lnTo>
                <a:close/>
              </a:path>
            </a:pathLst>
          </a:custGeom>
          <a:gradFill>
            <a:gsLst>
              <a:gs pos="63000">
                <a:schemeClr val="accent2">
                  <a:alpha val="0"/>
                </a:schemeClr>
              </a:gs>
              <a:gs pos="12000">
                <a:schemeClr val="accent2">
                  <a:alpha val="0"/>
                </a:schemeClr>
              </a:gs>
              <a:gs pos="39000">
                <a:srgbClr val="12ABDB"/>
              </a:gs>
            </a:gsLst>
            <a:lin ang="54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8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A0CAB402-372E-4770-97CC-D3A8DCA390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566" y="287689"/>
            <a:ext cx="2619476" cy="1062149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C2D01B5-7700-4FDF-8769-C8F21937D479}"/>
              </a:ext>
            </a:extLst>
          </p:cNvPr>
          <p:cNvCxnSpPr/>
          <p:nvPr userDrawn="1"/>
        </p:nvCxnSpPr>
        <p:spPr>
          <a:xfrm>
            <a:off x="10024929" y="582968"/>
            <a:ext cx="0" cy="60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Assurant Logo">
            <a:extLst>
              <a:ext uri="{FF2B5EF4-FFF2-40B4-BE49-F238E27FC236}">
                <a16:creationId xmlns:a16="http://schemas.microsoft.com/office/drawing/2014/main" id="{EDFCC1CF-B94E-40AA-9C01-134FC7CEE4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103" y="573428"/>
            <a:ext cx="1601698" cy="338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18946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inal Slide 1">
    <p:bg>
      <p:bgPr>
        <a:solidFill>
          <a:srgbClr val="2729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 27">
            <a:extLst>
              <a:ext uri="{FF2B5EF4-FFF2-40B4-BE49-F238E27FC236}">
                <a16:creationId xmlns:a16="http://schemas.microsoft.com/office/drawing/2014/main" id="{CFD4BD67-7A96-4F02-AD8B-7157189FD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8368" flipV="1">
            <a:off x="3661091" y="-1184328"/>
            <a:ext cx="10604299" cy="7497656"/>
          </a:xfrm>
          <a:prstGeom prst="rect">
            <a:avLst/>
          </a:prstGeom>
        </p:spPr>
      </p:pic>
      <p:pic>
        <p:nvPicPr>
          <p:cNvPr id="13" name="Image 12" descr="Une image contenant texte&#10;&#10;Description générée automatiquement">
            <a:extLst>
              <a:ext uri="{FF2B5EF4-FFF2-40B4-BE49-F238E27FC236}">
                <a16:creationId xmlns:a16="http://schemas.microsoft.com/office/drawing/2014/main" id="{A0C8CF1B-496A-4A5B-A698-8344534684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9" y="622130"/>
            <a:ext cx="3024000" cy="1226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282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3299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A – Narrow">
  <p:cSld name="Section A – Narrow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" name="Google Shape;201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944"/>
            <a:ext cx="12192000" cy="6860031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p30"/>
          <p:cNvSpPr/>
          <p:nvPr/>
        </p:nvSpPr>
        <p:spPr>
          <a:xfrm>
            <a:off x="2679031" y="-1"/>
            <a:ext cx="4562400" cy="6858000"/>
          </a:xfrm>
          <a:prstGeom prst="rect">
            <a:avLst/>
          </a:prstGeom>
          <a:solidFill>
            <a:srgbClr val="27293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Ubuntu" panose="020B0504030602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p30"/>
          <p:cNvSpPr txBox="1">
            <a:spLocks noGrp="1"/>
          </p:cNvSpPr>
          <p:nvPr>
            <p:ph type="ctrTitle"/>
          </p:nvPr>
        </p:nvSpPr>
        <p:spPr>
          <a:xfrm>
            <a:off x="3125940" y="3287890"/>
            <a:ext cx="3641700" cy="11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lt1"/>
                </a:solidFill>
                <a:latin typeface="Ubuntu" panose="020B0504030602030204" pitchFamily="34" charset="0"/>
                <a:ea typeface="Ubuntu" panose="020B0504030602030204" pitchFamily="34" charset="0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04" name="Google Shape;204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689968" y="-3920"/>
            <a:ext cx="573846" cy="2946314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" name="Google Shape;205;p30" descr="A picture containing shap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263814" y="1139617"/>
            <a:ext cx="1550027" cy="18083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06" name="Google Shape;206;p30" descr="A picture containing venn diagram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814582" y="1137677"/>
            <a:ext cx="2555267" cy="6008578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p30"/>
          <p:cNvSpPr txBox="1">
            <a:spLocks noGrp="1"/>
          </p:cNvSpPr>
          <p:nvPr>
            <p:ph type="body" idx="1"/>
          </p:nvPr>
        </p:nvSpPr>
        <p:spPr>
          <a:xfrm>
            <a:off x="3125788" y="1600264"/>
            <a:ext cx="3641700" cy="13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9E8"/>
              </a:buClr>
              <a:buSzPts val="9600"/>
              <a:buFont typeface="Arial"/>
              <a:buNone/>
              <a:defRPr sz="9600" b="0" i="0" u="none" strike="noStrike" cap="none">
                <a:solidFill>
                  <a:srgbClr val="00B9E8"/>
                </a:solidFill>
                <a:latin typeface="Ubuntu" panose="020B0504030602030204" pitchFamily="34" charset="0"/>
                <a:ea typeface="Ubuntu" panose="020B0504030602030204" pitchFamily="34" charset="0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grpSp>
        <p:nvGrpSpPr>
          <p:cNvPr id="208" name="Google Shape;208;p30"/>
          <p:cNvGrpSpPr/>
          <p:nvPr/>
        </p:nvGrpSpPr>
        <p:grpSpPr>
          <a:xfrm>
            <a:off x="11559757" y="210931"/>
            <a:ext cx="413179" cy="382297"/>
            <a:chOff x="5481638" y="2859088"/>
            <a:chExt cx="1231900" cy="1139825"/>
          </a:xfrm>
        </p:grpSpPr>
        <p:sp>
          <p:nvSpPr>
            <p:cNvPr id="209" name="Google Shape;209;p30"/>
            <p:cNvSpPr/>
            <p:nvPr/>
          </p:nvSpPr>
          <p:spPr>
            <a:xfrm>
              <a:off x="5481638" y="2859088"/>
              <a:ext cx="1203325" cy="1041400"/>
            </a:xfrm>
            <a:custGeom>
              <a:avLst/>
              <a:gdLst/>
              <a:ahLst/>
              <a:cxnLst/>
              <a:rect l="l" t="t" r="r" b="b"/>
              <a:pathLst>
                <a:path w="281" h="243" extrusionOk="0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Ubuntu" panose="020B0504030602030204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10" name="Google Shape;210;p30"/>
            <p:cNvSpPr/>
            <p:nvPr/>
          </p:nvSpPr>
          <p:spPr>
            <a:xfrm>
              <a:off x="5910263" y="3343275"/>
              <a:ext cx="803275" cy="655638"/>
            </a:xfrm>
            <a:custGeom>
              <a:avLst/>
              <a:gdLst/>
              <a:ahLst/>
              <a:cxnLst/>
              <a:rect l="l" t="t" r="r" b="b"/>
              <a:pathLst>
                <a:path w="188" h="153" extrusionOk="0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Ubuntu" panose="020B0504030602030204" pitchFamily="34" charset="0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87900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57200" y="165101"/>
            <a:ext cx="11277600" cy="647699"/>
          </a:xfr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57199" y="868680"/>
            <a:ext cx="11275713" cy="50292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07879" y="659282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algn="ctr" defTabSz="914400" rtl="0" eaLnBrk="1" latinLnBrk="0" hangingPunct="1">
              <a:defRPr lang="en-US" sz="800" kern="120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7505E45A-03BB-464B-8278-1A9522AE72B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72763" y="6220265"/>
            <a:ext cx="7659201" cy="4921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lang="en-US" sz="8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Source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61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2EBDB0D-AC97-40F0-9DD9-F997B008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47492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74F36F-3194-40C1-BFCB-D2FC8CB29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3" y="388188"/>
            <a:ext cx="4323035" cy="239274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Oval 20">
            <a:extLst>
              <a:ext uri="{FF2B5EF4-FFF2-40B4-BE49-F238E27FC236}">
                <a16:creationId xmlns:a16="http://schemas.microsoft.com/office/drawing/2014/main" id="{0B27F5C5-C656-4F2F-9EEE-B93F6E79E7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711496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811B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C41C771-7ED2-45AF-884F-E0E275C6B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8013" y="1040484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A82ADF8-12C7-4D27-8457-7F3D1C93EB4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7432" y="518014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18CF815-87D3-425A-8169-07DAC599615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7433" y="936969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Oval 20">
            <a:extLst>
              <a:ext uri="{FF2B5EF4-FFF2-40B4-BE49-F238E27FC236}">
                <a16:creationId xmlns:a16="http://schemas.microsoft.com/office/drawing/2014/main" id="{71209714-A86B-492A-AC18-2DBD1D17EB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2656077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590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DF667B-1AA2-4981-B115-B40754E318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98013" y="299622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49B542E-285C-4837-B671-696E4DC001E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87432" y="2563381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9A45E63-A970-497F-9E53-8D389A8457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87433" y="2982336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Oval 20">
            <a:extLst>
              <a:ext uri="{FF2B5EF4-FFF2-40B4-BE49-F238E27FC236}">
                <a16:creationId xmlns:a16="http://schemas.microsoft.com/office/drawing/2014/main" id="{F88C0E2C-E612-44EC-9013-AD68C65B6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27637" y="4780395"/>
            <a:ext cx="1204015" cy="1137595"/>
          </a:xfrm>
          <a:custGeom>
            <a:avLst/>
            <a:gdLst>
              <a:gd name="connsiteX0" fmla="*/ 0 w 3314251"/>
              <a:gd name="connsiteY0" fmla="*/ 1564410 h 3128820"/>
              <a:gd name="connsiteX1" fmla="*/ 1657126 w 3314251"/>
              <a:gd name="connsiteY1" fmla="*/ 0 h 3128820"/>
              <a:gd name="connsiteX2" fmla="*/ 3314252 w 3314251"/>
              <a:gd name="connsiteY2" fmla="*/ 1564410 h 3128820"/>
              <a:gd name="connsiteX3" fmla="*/ 1657126 w 3314251"/>
              <a:gd name="connsiteY3" fmla="*/ 3128820 h 3128820"/>
              <a:gd name="connsiteX4" fmla="*/ 0 w 3314251"/>
              <a:gd name="connsiteY4" fmla="*/ 1564410 h 3128820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5821 h 3130231"/>
              <a:gd name="connsiteX1" fmla="*/ 1657126 w 3314252"/>
              <a:gd name="connsiteY1" fmla="*/ 1411 h 3130231"/>
              <a:gd name="connsiteX2" fmla="*/ 3314252 w 3314252"/>
              <a:gd name="connsiteY2" fmla="*/ 1565821 h 3130231"/>
              <a:gd name="connsiteX3" fmla="*/ 1657126 w 3314252"/>
              <a:gd name="connsiteY3" fmla="*/ 3130231 h 3130231"/>
              <a:gd name="connsiteX4" fmla="*/ 0 w 3314252"/>
              <a:gd name="connsiteY4" fmla="*/ 1565821 h 3130231"/>
              <a:gd name="connsiteX0" fmla="*/ 0 w 3314252"/>
              <a:gd name="connsiteY0" fmla="*/ 1567937 h 3132347"/>
              <a:gd name="connsiteX1" fmla="*/ 1657126 w 3314252"/>
              <a:gd name="connsiteY1" fmla="*/ 3527 h 3132347"/>
              <a:gd name="connsiteX2" fmla="*/ 3314252 w 3314252"/>
              <a:gd name="connsiteY2" fmla="*/ 1567937 h 3132347"/>
              <a:gd name="connsiteX3" fmla="*/ 1657126 w 3314252"/>
              <a:gd name="connsiteY3" fmla="*/ 3132347 h 3132347"/>
              <a:gd name="connsiteX4" fmla="*/ 0 w 3314252"/>
              <a:gd name="connsiteY4" fmla="*/ 1567937 h 3132347"/>
              <a:gd name="connsiteX0" fmla="*/ 0 w 3314252"/>
              <a:gd name="connsiteY0" fmla="*/ 1564505 h 3128915"/>
              <a:gd name="connsiteX1" fmla="*/ 1657126 w 3314252"/>
              <a:gd name="connsiteY1" fmla="*/ 95 h 3128915"/>
              <a:gd name="connsiteX2" fmla="*/ 3314252 w 3314252"/>
              <a:gd name="connsiteY2" fmla="*/ 1564505 h 3128915"/>
              <a:gd name="connsiteX3" fmla="*/ 1657126 w 3314252"/>
              <a:gd name="connsiteY3" fmla="*/ 3128915 h 3128915"/>
              <a:gd name="connsiteX4" fmla="*/ 0 w 3314252"/>
              <a:gd name="connsiteY4" fmla="*/ 1564505 h 3128915"/>
              <a:gd name="connsiteX0" fmla="*/ 0 w 3314252"/>
              <a:gd name="connsiteY0" fmla="*/ 1565503 h 3129913"/>
              <a:gd name="connsiteX1" fmla="*/ 1657126 w 3314252"/>
              <a:gd name="connsiteY1" fmla="*/ 1093 h 3129913"/>
              <a:gd name="connsiteX2" fmla="*/ 3314252 w 3314252"/>
              <a:gd name="connsiteY2" fmla="*/ 1565503 h 3129913"/>
              <a:gd name="connsiteX3" fmla="*/ 1657126 w 3314252"/>
              <a:gd name="connsiteY3" fmla="*/ 3129913 h 3129913"/>
              <a:gd name="connsiteX4" fmla="*/ 0 w 3314252"/>
              <a:gd name="connsiteY4" fmla="*/ 1565503 h 3129913"/>
              <a:gd name="connsiteX0" fmla="*/ 0 w 3314252"/>
              <a:gd name="connsiteY0" fmla="*/ 1564410 h 3128820"/>
              <a:gd name="connsiteX1" fmla="*/ 1657126 w 3314252"/>
              <a:gd name="connsiteY1" fmla="*/ 0 h 3128820"/>
              <a:gd name="connsiteX2" fmla="*/ 3314252 w 3314252"/>
              <a:gd name="connsiteY2" fmla="*/ 1564410 h 3128820"/>
              <a:gd name="connsiteX3" fmla="*/ 1657126 w 3314252"/>
              <a:gd name="connsiteY3" fmla="*/ 3128820 h 3128820"/>
              <a:gd name="connsiteX4" fmla="*/ 0 w 3314252"/>
              <a:gd name="connsiteY4" fmla="*/ 1564410 h 3128820"/>
              <a:gd name="connsiteX0" fmla="*/ 0 w 3314252"/>
              <a:gd name="connsiteY0" fmla="*/ 1564433 h 3128843"/>
              <a:gd name="connsiteX1" fmla="*/ 1657126 w 3314252"/>
              <a:gd name="connsiteY1" fmla="*/ 23 h 3128843"/>
              <a:gd name="connsiteX2" fmla="*/ 3314252 w 3314252"/>
              <a:gd name="connsiteY2" fmla="*/ 1564433 h 3128843"/>
              <a:gd name="connsiteX3" fmla="*/ 1657126 w 3314252"/>
              <a:gd name="connsiteY3" fmla="*/ 3128843 h 3128843"/>
              <a:gd name="connsiteX4" fmla="*/ 0 w 3314252"/>
              <a:gd name="connsiteY4" fmla="*/ 1564433 h 3128843"/>
              <a:gd name="connsiteX0" fmla="*/ 0 w 3314252"/>
              <a:gd name="connsiteY0" fmla="*/ 1564433 h 3129053"/>
              <a:gd name="connsiteX1" fmla="*/ 1657126 w 3314252"/>
              <a:gd name="connsiteY1" fmla="*/ 23 h 3129053"/>
              <a:gd name="connsiteX2" fmla="*/ 3314252 w 3314252"/>
              <a:gd name="connsiteY2" fmla="*/ 1564433 h 3129053"/>
              <a:gd name="connsiteX3" fmla="*/ 1657126 w 3314252"/>
              <a:gd name="connsiteY3" fmla="*/ 3128843 h 3129053"/>
              <a:gd name="connsiteX4" fmla="*/ 0 w 3314252"/>
              <a:gd name="connsiteY4" fmla="*/ 1564433 h 3129053"/>
              <a:gd name="connsiteX0" fmla="*/ 0 w 3314252"/>
              <a:gd name="connsiteY0" fmla="*/ 1564433 h 3131880"/>
              <a:gd name="connsiteX1" fmla="*/ 1657126 w 3314252"/>
              <a:gd name="connsiteY1" fmla="*/ 23 h 3131880"/>
              <a:gd name="connsiteX2" fmla="*/ 3314252 w 3314252"/>
              <a:gd name="connsiteY2" fmla="*/ 1564433 h 3131880"/>
              <a:gd name="connsiteX3" fmla="*/ 1657126 w 3314252"/>
              <a:gd name="connsiteY3" fmla="*/ 3128843 h 3131880"/>
              <a:gd name="connsiteX4" fmla="*/ 0 w 3314252"/>
              <a:gd name="connsiteY4" fmla="*/ 1564433 h 3131880"/>
              <a:gd name="connsiteX0" fmla="*/ 0 w 3314252"/>
              <a:gd name="connsiteY0" fmla="*/ 1564433 h 3131423"/>
              <a:gd name="connsiteX1" fmla="*/ 1657126 w 3314252"/>
              <a:gd name="connsiteY1" fmla="*/ 23 h 3131423"/>
              <a:gd name="connsiteX2" fmla="*/ 3314252 w 3314252"/>
              <a:gd name="connsiteY2" fmla="*/ 1564433 h 3131423"/>
              <a:gd name="connsiteX3" fmla="*/ 1657126 w 3314252"/>
              <a:gd name="connsiteY3" fmla="*/ 3128843 h 3131423"/>
              <a:gd name="connsiteX4" fmla="*/ 0 w 3314252"/>
              <a:gd name="connsiteY4" fmla="*/ 1564433 h 3131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14252" h="3131423">
                <a:moveTo>
                  <a:pt x="0" y="1564433"/>
                </a:moveTo>
                <a:cubicBezTo>
                  <a:pt x="0" y="700433"/>
                  <a:pt x="775256" y="19074"/>
                  <a:pt x="1657126" y="23"/>
                </a:cubicBezTo>
                <a:cubicBezTo>
                  <a:pt x="2639009" y="-4740"/>
                  <a:pt x="3314252" y="700433"/>
                  <a:pt x="3314252" y="1564433"/>
                </a:cubicBezTo>
                <a:cubicBezTo>
                  <a:pt x="3314252" y="2428433"/>
                  <a:pt x="2367543" y="3071694"/>
                  <a:pt x="1657126" y="3128843"/>
                </a:cubicBezTo>
                <a:cubicBezTo>
                  <a:pt x="665721" y="3181230"/>
                  <a:pt x="0" y="2428433"/>
                  <a:pt x="0" y="1564433"/>
                </a:cubicBezTo>
                <a:close/>
              </a:path>
            </a:pathLst>
          </a:custGeom>
          <a:solidFill>
            <a:srgbClr val="A6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411BF5D-81E9-4AC1-AE6D-53DC26B2EC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98013" y="5107841"/>
            <a:ext cx="863263" cy="48270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Nº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676D57-7318-4038-8625-151D4DD857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87432" y="4647262"/>
            <a:ext cx="4020458" cy="412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1600" b="0">
                <a:solidFill>
                  <a:srgbClr val="0070AD"/>
                </a:solidFill>
                <a:latin typeface="+mj-lt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AB98D4C-7485-4468-A517-B5B92B48F38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7433" y="5066217"/>
            <a:ext cx="4020458" cy="117761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0504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Picture Placeholder 47">
            <a:extLst>
              <a:ext uri="{FF2B5EF4-FFF2-40B4-BE49-F238E27FC236}">
                <a16:creationId xmlns:a16="http://schemas.microsoft.com/office/drawing/2014/main" id="{51CA337D-4B25-44C1-847A-AC0D74277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92909"/>
            <a:ext cx="5591944" cy="5260428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pt-PT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E908611-FBB7-4987-BE0F-F09EAF1FFC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00059" y="11929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06025B9-0362-4974-8920-7C764289CB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00059" y="18650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57644F2-F28D-4087-B791-1E7F26C4AD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9" y="25371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5F62A33-F672-4099-9B72-9B2267F22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0059" y="320932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2FF6EE1-C46D-4DEB-A508-49B5101CF2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0059" y="388146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31D06D9-EA9B-42A0-81EE-D669D6CA5F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0059" y="455360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FEA829A-6217-4965-B7BD-6BC37F7849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0059" y="522574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05DDB93-91CA-4BAF-9D63-E4134B435D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0059" y="5897889"/>
            <a:ext cx="5007742" cy="5554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3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</a:lstStyle>
          <a:p>
            <a:pPr lvl="0"/>
            <a:r>
              <a:rPr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09795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C –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>
            <a:extLst>
              <a:ext uri="{FF2B5EF4-FFF2-40B4-BE49-F238E27FC236}">
                <a16:creationId xmlns:a16="http://schemas.microsoft.com/office/drawing/2014/main" id="{B313E9A5-8927-4424-8200-0B40A5FE0D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1AD9EEC-2F0C-454C-A5B2-F57FD7AAED4C}"/>
              </a:ext>
            </a:extLst>
          </p:cNvPr>
          <p:cNvSpPr/>
          <p:nvPr userDrawn="1"/>
        </p:nvSpPr>
        <p:spPr bwMode="white">
          <a:xfrm>
            <a:off x="2679031" y="-1"/>
            <a:ext cx="9512969" cy="6858001"/>
          </a:xfrm>
          <a:prstGeom prst="rect">
            <a:avLst/>
          </a:prstGeom>
          <a:solidFill>
            <a:srgbClr val="1459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0A620EA-D7F6-457A-9F84-F5DC18B217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3359696" y="2095351"/>
            <a:ext cx="5781098" cy="3975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>
            <a:lvl1pPr algn="l">
              <a:lnSpc>
                <a:spcPts val="3100"/>
              </a:lnSpc>
              <a:defRPr lang="en-US" sz="3200" b="1" cap="all" baseline="0" dirty="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marL="0" lvl="0"/>
            <a:r>
              <a:rPr lang="en-US"/>
              <a:t>SECTION TITLE ALL CAP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45FEED-D34C-429E-92B0-734C0A2CA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696" y="3144837"/>
            <a:ext cx="5781098" cy="4768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cap="all" baseline="0">
                <a:solidFill>
                  <a:srgbClr val="00E6E3"/>
                </a:solidFill>
                <a:latin typeface="Ubuntu" panose="020B050403060203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SECTION SUBTITLE ALL CAPs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74BF17-775B-4C09-81B2-C8403E37CE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9696" y="3713163"/>
            <a:ext cx="5781098" cy="2809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800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pPr lvl="0"/>
            <a:r>
              <a:rPr lang="en-US" dirty="0"/>
              <a:t>Short chapter description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</a:t>
            </a:r>
            <a:r>
              <a:rPr lang="en-US" dirty="0"/>
              <a:t>.</a:t>
            </a:r>
            <a:endParaRPr lang="en-GB" dirty="0"/>
          </a:p>
        </p:txBody>
      </p:sp>
      <p:grpSp>
        <p:nvGrpSpPr>
          <p:cNvPr id="8" name="Group 37">
            <a:extLst>
              <a:ext uri="{FF2B5EF4-FFF2-40B4-BE49-F238E27FC236}">
                <a16:creationId xmlns:a16="http://schemas.microsoft.com/office/drawing/2014/main" id="{89B4162E-9D70-4209-8DF4-1DED410659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559747" y="210928"/>
            <a:ext cx="413177" cy="382296"/>
            <a:chOff x="5481638" y="2859088"/>
            <a:chExt cx="1231900" cy="1139825"/>
          </a:xfrm>
          <a:solidFill>
            <a:schemeClr val="bg1"/>
          </a:solidFill>
        </p:grpSpPr>
        <p:sp>
          <p:nvSpPr>
            <p:cNvPr id="10" name="Freeform 320">
              <a:extLst>
                <a:ext uri="{FF2B5EF4-FFF2-40B4-BE49-F238E27FC236}">
                  <a16:creationId xmlns:a16="http://schemas.microsoft.com/office/drawing/2014/main" id="{0DC7C616-15E8-4116-9F0B-2B12EA9734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81638" y="2859088"/>
              <a:ext cx="1203325" cy="1041400"/>
            </a:xfrm>
            <a:custGeom>
              <a:avLst/>
              <a:gdLst>
                <a:gd name="T0" fmla="*/ 229 w 281"/>
                <a:gd name="T1" fmla="*/ 105 h 243"/>
                <a:gd name="T2" fmla="*/ 186 w 281"/>
                <a:gd name="T3" fmla="*/ 141 h 243"/>
                <a:gd name="T4" fmla="*/ 154 w 281"/>
                <a:gd name="T5" fmla="*/ 194 h 243"/>
                <a:gd name="T6" fmla="*/ 112 w 281"/>
                <a:gd name="T7" fmla="*/ 233 h 243"/>
                <a:gd name="T8" fmla="*/ 53 w 281"/>
                <a:gd name="T9" fmla="*/ 236 h 243"/>
                <a:gd name="T10" fmla="*/ 0 w 281"/>
                <a:gd name="T11" fmla="*/ 159 h 243"/>
                <a:gd name="T12" fmla="*/ 153 w 281"/>
                <a:gd name="T13" fmla="*/ 0 h 243"/>
                <a:gd name="T14" fmla="*/ 153 w 281"/>
                <a:gd name="T15" fmla="*/ 0 h 243"/>
                <a:gd name="T16" fmla="*/ 160 w 281"/>
                <a:gd name="T17" fmla="*/ 3 h 243"/>
                <a:gd name="T18" fmla="*/ 237 w 281"/>
                <a:gd name="T19" fmla="*/ 51 h 243"/>
                <a:gd name="T20" fmla="*/ 281 w 281"/>
                <a:gd name="T21" fmla="*/ 118 h 243"/>
                <a:gd name="T22" fmla="*/ 229 w 281"/>
                <a:gd name="T23" fmla="*/ 10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1" h="243">
                  <a:moveTo>
                    <a:pt x="229" y="105"/>
                  </a:moveTo>
                  <a:cubicBezTo>
                    <a:pt x="210" y="109"/>
                    <a:pt x="196" y="125"/>
                    <a:pt x="186" y="141"/>
                  </a:cubicBezTo>
                  <a:cubicBezTo>
                    <a:pt x="175" y="159"/>
                    <a:pt x="166" y="177"/>
                    <a:pt x="154" y="194"/>
                  </a:cubicBezTo>
                  <a:cubicBezTo>
                    <a:pt x="143" y="211"/>
                    <a:pt x="130" y="225"/>
                    <a:pt x="112" y="233"/>
                  </a:cubicBezTo>
                  <a:cubicBezTo>
                    <a:pt x="93" y="242"/>
                    <a:pt x="72" y="243"/>
                    <a:pt x="53" y="236"/>
                  </a:cubicBezTo>
                  <a:cubicBezTo>
                    <a:pt x="21" y="224"/>
                    <a:pt x="0" y="192"/>
                    <a:pt x="0" y="159"/>
                  </a:cubicBezTo>
                  <a:cubicBezTo>
                    <a:pt x="0" y="72"/>
                    <a:pt x="119" y="42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5" y="1"/>
                    <a:pt x="158" y="2"/>
                    <a:pt x="160" y="3"/>
                  </a:cubicBezTo>
                  <a:cubicBezTo>
                    <a:pt x="188" y="15"/>
                    <a:pt x="214" y="30"/>
                    <a:pt x="237" y="51"/>
                  </a:cubicBezTo>
                  <a:cubicBezTo>
                    <a:pt x="258" y="70"/>
                    <a:pt x="273" y="92"/>
                    <a:pt x="281" y="118"/>
                  </a:cubicBezTo>
                  <a:cubicBezTo>
                    <a:pt x="268" y="105"/>
                    <a:pt x="247" y="100"/>
                    <a:pt x="229" y="10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1">
              <a:extLst>
                <a:ext uri="{FF2B5EF4-FFF2-40B4-BE49-F238E27FC236}">
                  <a16:creationId xmlns:a16="http://schemas.microsoft.com/office/drawing/2014/main" id="{8CD5D6CE-DA21-4029-90DF-6FD0FE6AC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0263" y="3343275"/>
              <a:ext cx="803275" cy="655638"/>
            </a:xfrm>
            <a:custGeom>
              <a:avLst/>
              <a:gdLst>
                <a:gd name="T0" fmla="*/ 183 w 188"/>
                <a:gd name="T1" fmla="*/ 61 h 153"/>
                <a:gd name="T2" fmla="*/ 140 w 188"/>
                <a:gd name="T3" fmla="*/ 103 h 153"/>
                <a:gd name="T4" fmla="*/ 79 w 188"/>
                <a:gd name="T5" fmla="*/ 84 h 153"/>
                <a:gd name="T6" fmla="*/ 123 w 188"/>
                <a:gd name="T7" fmla="*/ 124 h 153"/>
                <a:gd name="T8" fmla="*/ 65 w 188"/>
                <a:gd name="T9" fmla="*/ 149 h 153"/>
                <a:gd name="T10" fmla="*/ 31 w 188"/>
                <a:gd name="T11" fmla="*/ 152 h 153"/>
                <a:gd name="T12" fmla="*/ 0 w 188"/>
                <a:gd name="T13" fmla="*/ 144 h 153"/>
                <a:gd name="T14" fmla="*/ 48 w 188"/>
                <a:gd name="T15" fmla="*/ 114 h 153"/>
                <a:gd name="T16" fmla="*/ 77 w 188"/>
                <a:gd name="T17" fmla="*/ 72 h 153"/>
                <a:gd name="T18" fmla="*/ 103 w 188"/>
                <a:gd name="T19" fmla="*/ 25 h 153"/>
                <a:gd name="T20" fmla="*/ 140 w 188"/>
                <a:gd name="T21" fmla="*/ 1 h 153"/>
                <a:gd name="T22" fmla="*/ 182 w 188"/>
                <a:gd name="T23" fmla="*/ 22 h 153"/>
                <a:gd name="T24" fmla="*/ 183 w 188"/>
                <a:gd name="T25" fmla="*/ 6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53">
                  <a:moveTo>
                    <a:pt x="183" y="61"/>
                  </a:moveTo>
                  <a:cubicBezTo>
                    <a:pt x="177" y="81"/>
                    <a:pt x="160" y="97"/>
                    <a:pt x="140" y="103"/>
                  </a:cubicBezTo>
                  <a:cubicBezTo>
                    <a:pt x="117" y="109"/>
                    <a:pt x="94" y="102"/>
                    <a:pt x="79" y="84"/>
                  </a:cubicBezTo>
                  <a:cubicBezTo>
                    <a:pt x="80" y="108"/>
                    <a:pt x="99" y="124"/>
                    <a:pt x="123" y="124"/>
                  </a:cubicBezTo>
                  <a:cubicBezTo>
                    <a:pt x="108" y="139"/>
                    <a:pt x="86" y="146"/>
                    <a:pt x="65" y="149"/>
                  </a:cubicBezTo>
                  <a:cubicBezTo>
                    <a:pt x="54" y="151"/>
                    <a:pt x="42" y="153"/>
                    <a:pt x="31" y="152"/>
                  </a:cubicBezTo>
                  <a:cubicBezTo>
                    <a:pt x="21" y="152"/>
                    <a:pt x="9" y="150"/>
                    <a:pt x="0" y="144"/>
                  </a:cubicBezTo>
                  <a:cubicBezTo>
                    <a:pt x="19" y="139"/>
                    <a:pt x="35" y="128"/>
                    <a:pt x="48" y="114"/>
                  </a:cubicBezTo>
                  <a:cubicBezTo>
                    <a:pt x="60" y="101"/>
                    <a:pt x="69" y="87"/>
                    <a:pt x="77" y="72"/>
                  </a:cubicBezTo>
                  <a:cubicBezTo>
                    <a:pt x="85" y="56"/>
                    <a:pt x="92" y="39"/>
                    <a:pt x="103" y="25"/>
                  </a:cubicBezTo>
                  <a:cubicBezTo>
                    <a:pt x="112" y="12"/>
                    <a:pt x="124" y="2"/>
                    <a:pt x="140" y="1"/>
                  </a:cubicBezTo>
                  <a:cubicBezTo>
                    <a:pt x="157" y="0"/>
                    <a:pt x="174" y="7"/>
                    <a:pt x="182" y="22"/>
                  </a:cubicBezTo>
                  <a:cubicBezTo>
                    <a:pt x="188" y="35"/>
                    <a:pt x="187" y="48"/>
                    <a:pt x="183" y="6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4827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5938 0 L 4.16667E-6 0 " pathEditMode="relative" rAng="0" ptsTypes="AA">
                                      <p:cBhvr>
                                        <p:cTn id="12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69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iterate type="wd">
                                    <p:tmPct val="16667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4" presetClass="path" presetSubtype="0" decel="100000" fill="hold" grpId="1" nodeType="withEffect">
                                  <p:stCondLst>
                                    <p:cond delay="2500"/>
                                  </p:stCondLst>
                                  <p:iterate type="wd">
                                    <p:tmPct val="16667"/>
                                  </p:iterate>
                                  <p:childTnLst>
                                    <p:animMotion origin="layout" path="M -4.16667E-6 0.02616 L -4.16667E-6 -4.81481E-6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19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1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150" fill="hold"/>
                                        <p:tgtEl>
                                          <p:spTgt spid="1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27" dur="3450" fill="hold"/>
                                        <p:tgtEl>
                                          <p:spTgt spid="16"/>
                                        </p:tgtEl>
                                      </p:cBhvr>
                                      <p:by x="90990" y="9099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2500"/>
                  </p:stCondLst>
                  <p:iterate type="wd">
                    <p:tmPct val="16667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presetID="64" presetClass="path" presetSubtype="0" decel="100000" fill="hold" nodeType="withEffect">
                  <p:stCondLst>
                    <p:cond delay="2500"/>
                  </p:stCondLst>
                  <p:iterate type="wd">
                    <p:tmPct val="16667"/>
                  </p:iterate>
                  <p:childTnLst>
                    <p:animMotion origin="layout" path="M -4.16667E-6 0.02616 L -4.16667E-6 -4.81481E-6 " pathEditMode="relative" rAng="0" ptsTypes="AA">
                      <p:cBhvr>
                        <p:cTn dur="5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319"/>
                    </p:animMotion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447201"/>
            <a:ext cx="11379201" cy="50226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61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4812" y="1899138"/>
            <a:ext cx="11379201" cy="45706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7697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054D7-80F5-442C-9F9E-FCC6CF14C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1327150"/>
            <a:ext cx="11379200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292127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2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1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388188"/>
            <a:ext cx="10947772" cy="71671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TITLE</a:t>
            </a:r>
            <a:endParaRPr lang="en-US" dirty="0"/>
          </a:p>
        </p:txBody>
      </p:sp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62163" y="205059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98" name="Rectangle 27">
            <a:extLst>
              <a:ext uri="{FF2B5EF4-FFF2-40B4-BE49-F238E27FC236}">
                <a16:creationId xmlns:a16="http://schemas.microsoft.com/office/drawing/2014/main" id="{B1133F59-1301-4D8F-A396-71B6A669F37A}"/>
              </a:ext>
            </a:extLst>
          </p:cNvPr>
          <p:cNvSpPr/>
          <p:nvPr userDrawn="1"/>
        </p:nvSpPr>
        <p:spPr>
          <a:xfrm>
            <a:off x="404813" y="6517871"/>
            <a:ext cx="3410847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Presentation Title  |  Author  |  Date</a:t>
            </a:r>
          </a:p>
        </p:txBody>
      </p:sp>
      <p:sp>
        <p:nvSpPr>
          <p:cNvPr id="100" name="Rectangle 27">
            <a:extLst>
              <a:ext uri="{FF2B5EF4-FFF2-40B4-BE49-F238E27FC236}">
                <a16:creationId xmlns:a16="http://schemas.microsoft.com/office/drawing/2014/main" id="{777F4691-2D56-47C4-B2B1-73BE348DB06D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 dirty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|</a:t>
            </a:r>
          </a:p>
        </p:txBody>
      </p:sp>
      <p:sp>
        <p:nvSpPr>
          <p:cNvPr id="99" name="Rectangle 43">
            <a:extLst>
              <a:ext uri="{FF2B5EF4-FFF2-40B4-BE49-F238E27FC236}">
                <a16:creationId xmlns:a16="http://schemas.microsoft.com/office/drawing/2014/main" id="{1302EB1D-4F45-4228-A725-9CA0AEFCE017}"/>
              </a:ext>
            </a:extLst>
          </p:cNvPr>
          <p:cNvSpPr/>
          <p:nvPr userDrawn="1"/>
        </p:nvSpPr>
        <p:spPr>
          <a:xfrm>
            <a:off x="11744128" y="6517658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800">
              <a:solidFill>
                <a:srgbClr val="A6A6A6"/>
              </a:solidFill>
              <a:latin typeface="Ubuntu" panose="020B05040306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13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4021" r:id="rId4"/>
    <p:sldLayoutId id="2147484020" r:id="rId5"/>
    <p:sldLayoutId id="2147484018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4026" r:id="rId12"/>
    <p:sldLayoutId id="2147483972" r:id="rId13"/>
    <p:sldLayoutId id="2147483973" r:id="rId14"/>
    <p:sldLayoutId id="2147483974" r:id="rId15"/>
    <p:sldLayoutId id="2147483975" r:id="rId16"/>
    <p:sldLayoutId id="2147483980" r:id="rId17"/>
    <p:sldLayoutId id="2147483981" r:id="rId18"/>
    <p:sldLayoutId id="2147483983" r:id="rId19"/>
    <p:sldLayoutId id="2147483984" r:id="rId20"/>
    <p:sldLayoutId id="2147483985" r:id="rId21"/>
    <p:sldLayoutId id="2147484031" r:id="rId22"/>
    <p:sldLayoutId id="2147484035" r:id="rId23"/>
    <p:sldLayoutId id="2147484032" r:id="rId24"/>
    <p:sldLayoutId id="2147484033" r:id="rId25"/>
    <p:sldLayoutId id="2147484034" r:id="rId26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6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10" pos="7423" userDrawn="1">
          <p15:clr>
            <a:srgbClr val="F26B43"/>
          </p15:clr>
        </p15:guide>
        <p15:guide id="11" orient="horz" pos="4071" userDrawn="1">
          <p15:clr>
            <a:srgbClr val="F26B43"/>
          </p15:clr>
        </p15:guide>
        <p15:guide id="12" pos="255" userDrawn="1">
          <p15:clr>
            <a:srgbClr val="F26B43"/>
          </p15:clr>
        </p15:guide>
        <p15:guide id="13" orient="horz" pos="836" userDrawn="1">
          <p15:clr>
            <a:srgbClr val="F26B43"/>
          </p15:clr>
        </p15:guide>
        <p15:guide id="14" orient="horz" pos="245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3899" userDrawn="1">
          <p15:clr>
            <a:srgbClr val="F26B43"/>
          </p15:clr>
        </p15:guide>
        <p15:guide id="17" pos="37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"/>
          <p:cNvSpPr>
            <a:spLocks noGrp="1"/>
          </p:cNvSpPr>
          <p:nvPr>
            <p:ph type="body" idx="1"/>
          </p:nvPr>
        </p:nvSpPr>
        <p:spPr>
          <a:xfrm>
            <a:off x="404813" y="1327150"/>
            <a:ext cx="11376880" cy="5135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04813" y="219225"/>
            <a:ext cx="10947772" cy="7167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TITLE</a:t>
            </a:r>
            <a:endParaRPr lang="en-US"/>
          </a:p>
        </p:txBody>
      </p:sp>
      <p:grpSp>
        <p:nvGrpSpPr>
          <p:cNvPr id="94" name="Groupe 1">
            <a:extLst>
              <a:ext uri="{FF2B5EF4-FFF2-40B4-BE49-F238E27FC236}">
                <a16:creationId xmlns:a16="http://schemas.microsoft.com/office/drawing/2014/main" id="{11A3E882-4152-49CC-A658-0BA2BD4CCF4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532346" y="314388"/>
            <a:ext cx="419436" cy="388988"/>
            <a:chOff x="11501102" y="171573"/>
            <a:chExt cx="419436" cy="388988"/>
          </a:xfrm>
        </p:grpSpPr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7962C740-AA7F-4225-AF45-30CEC5D857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B6BE8F3-0248-42CC-8053-5B10FA1A64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86" name="Retângulo 43">
            <a:extLst>
              <a:ext uri="{FF2B5EF4-FFF2-40B4-BE49-F238E27FC236}">
                <a16:creationId xmlns:a16="http://schemas.microsoft.com/office/drawing/2014/main" id="{5539996C-DD2A-49D6-AFB0-763FCB2EE440}"/>
              </a:ext>
            </a:extLst>
          </p:cNvPr>
          <p:cNvSpPr/>
          <p:nvPr userDrawn="1"/>
        </p:nvSpPr>
        <p:spPr>
          <a:xfrm>
            <a:off x="11718728" y="6517381"/>
            <a:ext cx="229263" cy="21544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fld id="{0502E5A9-B53C-401E-A0E0-4A359BB0A9E5}" type="slidenum">
              <a:rPr lang="en-US" sz="800" smtClean="0">
                <a:solidFill>
                  <a:srgbClr val="A6A6A6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800" dirty="0">
              <a:solidFill>
                <a:srgbClr val="A6A6A6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2DF1CB4C-CF21-4EF2-9FE6-AF0524A02D52}"/>
              </a:ext>
            </a:extLst>
          </p:cNvPr>
          <p:cNvSpPr/>
          <p:nvPr userDrawn="1"/>
        </p:nvSpPr>
        <p:spPr>
          <a:xfrm>
            <a:off x="7227070" y="6517871"/>
            <a:ext cx="4532162" cy="219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00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  |</a:t>
            </a:r>
          </a:p>
        </p:txBody>
      </p:sp>
    </p:spTree>
    <p:extLst>
      <p:ext uri="{BB962C8B-B14F-4D97-AF65-F5344CB8AC3E}">
        <p14:creationId xmlns:p14="http://schemas.microsoft.com/office/powerpoint/2010/main" val="81183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5" r:id="rId8"/>
  </p:sldLayoutIdLst>
  <p:hf hdr="0"/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2200" b="0" i="0" u="none" strike="noStrike" kern="1200" cap="all" spc="0" normalizeH="0" baseline="0" noProof="0" dirty="0">
          <a:ln>
            <a:noFill/>
          </a:ln>
          <a:solidFill>
            <a:schemeClr val="accent4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361950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5397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Ubuntu" panose="020B0504030602030204" pitchFamily="34" charset="0"/>
        <a:buChar char="–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•"/>
        <a:defRPr sz="1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xd.adobe.com/view/5fb4e790-50df-4f49-a707-21c3efaa3276-0ae7/" TargetMode="Externa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8D696E-B4E9-4F10-824F-B9B79E98BE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015842"/>
            <a:ext cx="11386134" cy="1569660"/>
          </a:xfrm>
        </p:spPr>
        <p:txBody>
          <a:bodyPr/>
          <a:lstStyle/>
          <a:p>
            <a:r>
              <a:rPr lang="en-GB" dirty="0"/>
              <a:t>Blue Cross Blue Shield</a:t>
            </a:r>
            <a:br>
              <a:rPr lang="en-GB" dirty="0"/>
            </a:br>
            <a:r>
              <a:rPr lang="en-GB" sz="3600" dirty="0"/>
              <a:t>Horizon Blue: heuristic evaluation</a:t>
            </a:r>
            <a:endParaRPr lang="en-GB" sz="2400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D65D8CDD-4C58-4EBA-861D-05FBDBE637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289" y="6165304"/>
            <a:ext cx="6267251" cy="307777"/>
          </a:xfrm>
        </p:spPr>
        <p:txBody>
          <a:bodyPr/>
          <a:lstStyle/>
          <a:p>
            <a:r>
              <a:rPr lang="en-GB" dirty="0"/>
              <a:t>October 2022</a:t>
            </a:r>
          </a:p>
        </p:txBody>
      </p:sp>
    </p:spTree>
    <p:extLst>
      <p:ext uri="{BB962C8B-B14F-4D97-AF65-F5344CB8AC3E}">
        <p14:creationId xmlns:p14="http://schemas.microsoft.com/office/powerpoint/2010/main" val="3867533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Design for Horizon Blue -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cap="none" dirty="0">
                <a:solidFill>
                  <a:srgbClr val="FFFFFF"/>
                </a:solidFill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me page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 panose="020B05040306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D904182-8CA8-4152-91CB-E0A536B65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956" y="1576606"/>
            <a:ext cx="3948843" cy="2052734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>
                <a:lumMod val="75000"/>
              </a:schemeClr>
            </a:solidFill>
            <a:miter lim="800000"/>
          </a:ln>
          <a:effectLst/>
        </p:spPr>
      </p:pic>
      <p:pic>
        <p:nvPicPr>
          <p:cNvPr id="23" name="Picture 22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CDA9BB24-C5D8-48DF-8DE9-D70499D9BC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90"/>
          <a:stretch/>
        </p:blipFill>
        <p:spPr>
          <a:xfrm>
            <a:off x="5058960" y="1528832"/>
            <a:ext cx="6786084" cy="471935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114300" dir="9060000" algn="tl" rotWithShape="0">
              <a:schemeClr val="tx1">
                <a:lumMod val="50000"/>
                <a:lumOff val="50000"/>
                <a:alpha val="43000"/>
              </a:schemeClr>
            </a:outerShdw>
          </a:effectLst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0DCD6D1A-233A-4938-91E6-5E778A2F2CC0}"/>
              </a:ext>
            </a:extLst>
          </p:cNvPr>
          <p:cNvSpPr txBox="1">
            <a:spLocks/>
          </p:cNvSpPr>
          <p:nvPr/>
        </p:nvSpPr>
        <p:spPr>
          <a:xfrm>
            <a:off x="246976" y="1254899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efor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452B7B0-220D-4F3C-9787-A6653BD16B12}"/>
              </a:ext>
            </a:extLst>
          </p:cNvPr>
          <p:cNvSpPr txBox="1">
            <a:spLocks/>
          </p:cNvSpPr>
          <p:nvPr/>
        </p:nvSpPr>
        <p:spPr>
          <a:xfrm>
            <a:off x="4975640" y="1172627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fte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230C64B-6E9D-4FEE-82A1-F768C40D9134}"/>
              </a:ext>
            </a:extLst>
          </p:cNvPr>
          <p:cNvSpPr/>
          <p:nvPr/>
        </p:nvSpPr>
        <p:spPr>
          <a:xfrm>
            <a:off x="9872184" y="1409698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78D85D5-B5ED-4C02-B61D-1B82649A14E4}"/>
              </a:ext>
            </a:extLst>
          </p:cNvPr>
          <p:cNvSpPr/>
          <p:nvPr/>
        </p:nvSpPr>
        <p:spPr>
          <a:xfrm>
            <a:off x="10826795" y="2872659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2B11246-EA93-4FD3-8CDB-452F368E513F}"/>
              </a:ext>
            </a:extLst>
          </p:cNvPr>
          <p:cNvSpPr/>
          <p:nvPr/>
        </p:nvSpPr>
        <p:spPr>
          <a:xfrm>
            <a:off x="10272464" y="4458514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</a:t>
            </a:r>
          </a:p>
        </p:txBody>
      </p:sp>
      <p:sp>
        <p:nvSpPr>
          <p:cNvPr id="34" name="Speech Bubble: Rectangle with Corners Rounded 33">
            <a:extLst>
              <a:ext uri="{FF2B5EF4-FFF2-40B4-BE49-F238E27FC236}">
                <a16:creationId xmlns:a16="http://schemas.microsoft.com/office/drawing/2014/main" id="{2625DFFB-DB75-4F48-918D-C3C28E92D4DF}"/>
              </a:ext>
            </a:extLst>
          </p:cNvPr>
          <p:cNvSpPr/>
          <p:nvPr/>
        </p:nvSpPr>
        <p:spPr>
          <a:xfrm>
            <a:off x="291265" y="3861048"/>
            <a:ext cx="4484397" cy="2387142"/>
          </a:xfrm>
          <a:prstGeom prst="wedgeRoundRectCallout">
            <a:avLst>
              <a:gd name="adj1" fmla="val 56316"/>
              <a:gd name="adj2" fmla="val 20076"/>
              <a:gd name="adj3" fmla="val 16667"/>
            </a:avLst>
          </a:prstGeom>
          <a:solidFill>
            <a:schemeClr val="bg1"/>
          </a:solidFill>
          <a:ln w="1905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1500" b="1" cap="none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Intuitive, clear navigation and visual hierarchy </a:t>
            </a:r>
            <a:r>
              <a:rPr lang="en-US" sz="1500" cap="none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which allows users attention to primary UI elements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1500" cap="none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Emphasized hero banner content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1500" b="1" cap="none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Accessible and above the fold Call-To-Action buttons</a:t>
            </a:r>
            <a:r>
              <a:rPr lang="en-US" sz="1500" cap="none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for “Get a Quote” and “Enroll Now” actions so that users don’t have to scroll down</a:t>
            </a:r>
            <a:endParaRPr lang="en-US" sz="15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51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Design for Horizon Blue -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cap="none" dirty="0">
                <a:solidFill>
                  <a:srgbClr val="FFFFFF"/>
                </a:solidFill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 a Quote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 panose="020B05040306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DCD6D1A-233A-4938-91E6-5E778A2F2CC0}"/>
              </a:ext>
            </a:extLst>
          </p:cNvPr>
          <p:cNvSpPr txBox="1">
            <a:spLocks/>
          </p:cNvSpPr>
          <p:nvPr/>
        </p:nvSpPr>
        <p:spPr>
          <a:xfrm>
            <a:off x="246976" y="1254899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efor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452B7B0-220D-4F3C-9787-A6653BD16B12}"/>
              </a:ext>
            </a:extLst>
          </p:cNvPr>
          <p:cNvSpPr txBox="1">
            <a:spLocks/>
          </p:cNvSpPr>
          <p:nvPr/>
        </p:nvSpPr>
        <p:spPr>
          <a:xfrm>
            <a:off x="4975640" y="1172627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fter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230C64B-6E9D-4FEE-82A1-F768C40D9134}"/>
              </a:ext>
            </a:extLst>
          </p:cNvPr>
          <p:cNvSpPr/>
          <p:nvPr/>
        </p:nvSpPr>
        <p:spPr>
          <a:xfrm>
            <a:off x="8975008" y="1576606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78D85D5-B5ED-4C02-B61D-1B82649A14E4}"/>
              </a:ext>
            </a:extLst>
          </p:cNvPr>
          <p:cNvSpPr/>
          <p:nvPr/>
        </p:nvSpPr>
        <p:spPr>
          <a:xfrm>
            <a:off x="8574728" y="2872659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2B11246-EA93-4FD3-8CDB-452F368E513F}"/>
              </a:ext>
            </a:extLst>
          </p:cNvPr>
          <p:cNvSpPr/>
          <p:nvPr/>
        </p:nvSpPr>
        <p:spPr>
          <a:xfrm>
            <a:off x="9086235" y="4630450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</a:t>
            </a:r>
          </a:p>
        </p:txBody>
      </p:sp>
      <p:pic>
        <p:nvPicPr>
          <p:cNvPr id="14" name="Picture 13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22AD2EF3-E71B-45F3-8FFA-25AFD84170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74"/>
          <a:stretch/>
        </p:blipFill>
        <p:spPr>
          <a:xfrm>
            <a:off x="5058960" y="1528832"/>
            <a:ext cx="6754624" cy="449245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114300" dir="9060000" algn="tl" rotWithShape="0">
              <a:schemeClr val="tx1">
                <a:lumMod val="50000"/>
                <a:lumOff val="50000"/>
                <a:alpha val="43000"/>
              </a:schemeClr>
            </a:outerShdw>
          </a:effectLst>
        </p:spPr>
      </p:pic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554A0100-2912-45F7-887D-B25D98546944}"/>
              </a:ext>
            </a:extLst>
          </p:cNvPr>
          <p:cNvSpPr/>
          <p:nvPr/>
        </p:nvSpPr>
        <p:spPr>
          <a:xfrm>
            <a:off x="291265" y="3861048"/>
            <a:ext cx="4484397" cy="2387142"/>
          </a:xfrm>
          <a:prstGeom prst="wedgeRoundRectCallout">
            <a:avLst>
              <a:gd name="adj1" fmla="val 57412"/>
              <a:gd name="adj2" fmla="val 20076"/>
              <a:gd name="adj3" fmla="val 16667"/>
            </a:avLst>
          </a:prstGeom>
          <a:solidFill>
            <a:schemeClr val="bg1"/>
          </a:solidFill>
          <a:ln w="1905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Prominent page heading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to provide clear context to the us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Close button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to allow users to exit the quoting process so that users don’t feel stuck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Horizontal progress stepper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for better visibility of the progres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Contextual help notes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to prevent users from making erro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EE0C9B-CA52-404C-9CCD-5571C9F9326C}"/>
              </a:ext>
            </a:extLst>
          </p:cNvPr>
          <p:cNvSpPr/>
          <p:nvPr/>
        </p:nvSpPr>
        <p:spPr>
          <a:xfrm>
            <a:off x="5166688" y="1976886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7729B5D-EA18-4796-AC95-FDFD891A14D2}"/>
              </a:ext>
            </a:extLst>
          </p:cNvPr>
          <p:cNvSpPr/>
          <p:nvPr/>
        </p:nvSpPr>
        <p:spPr>
          <a:xfrm>
            <a:off x="10560496" y="1976886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4D60CFB-6736-4F30-85AC-2460107196D3}"/>
              </a:ext>
            </a:extLst>
          </p:cNvPr>
          <p:cNvSpPr/>
          <p:nvPr/>
        </p:nvSpPr>
        <p:spPr>
          <a:xfrm>
            <a:off x="5644968" y="2620166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A059705-26F1-4A4A-9827-E1E71D3BAE08}"/>
              </a:ext>
            </a:extLst>
          </p:cNvPr>
          <p:cNvSpPr/>
          <p:nvPr/>
        </p:nvSpPr>
        <p:spPr>
          <a:xfrm>
            <a:off x="5566968" y="3798947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870B1A-4E19-4438-9EAE-427475CA7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916" y="1574646"/>
            <a:ext cx="4236916" cy="200708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114300" dir="9060000" algn="tl" rotWithShape="0">
              <a:schemeClr val="tx1">
                <a:lumMod val="50000"/>
                <a:lumOff val="50000"/>
                <a:alpha val="43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9010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2" name="Picture 2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25CF5DF-761D-46BD-A452-AB347A49F6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69" b="24984"/>
          <a:stretch/>
        </p:blipFill>
        <p:spPr>
          <a:xfrm>
            <a:off x="5066927" y="1484783"/>
            <a:ext cx="5925617" cy="468365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114300" dir="9060000" algn="tl" rotWithShape="0">
              <a:schemeClr val="tx1">
                <a:lumMod val="50000"/>
                <a:lumOff val="50000"/>
                <a:alpha val="43000"/>
              </a:schemeClr>
            </a:outerShdw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osed Design for Horizon Blue -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cap="none" dirty="0">
                <a:solidFill>
                  <a:srgbClr val="FFFFFF"/>
                </a:solidFill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 a Quote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 panose="020B05040306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DCD6D1A-233A-4938-91E6-5E778A2F2CC0}"/>
              </a:ext>
            </a:extLst>
          </p:cNvPr>
          <p:cNvSpPr txBox="1">
            <a:spLocks/>
          </p:cNvSpPr>
          <p:nvPr/>
        </p:nvSpPr>
        <p:spPr>
          <a:xfrm>
            <a:off x="246976" y="1254899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efor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452B7B0-220D-4F3C-9787-A6653BD16B12}"/>
              </a:ext>
            </a:extLst>
          </p:cNvPr>
          <p:cNvSpPr txBox="1">
            <a:spLocks/>
          </p:cNvSpPr>
          <p:nvPr/>
        </p:nvSpPr>
        <p:spPr>
          <a:xfrm>
            <a:off x="4975640" y="1172627"/>
            <a:ext cx="1182656" cy="375274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cap="none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fter</a:t>
            </a:r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554A0100-2912-45F7-887D-B25D98546944}"/>
              </a:ext>
            </a:extLst>
          </p:cNvPr>
          <p:cNvSpPr/>
          <p:nvPr/>
        </p:nvSpPr>
        <p:spPr>
          <a:xfrm>
            <a:off x="291265" y="3989674"/>
            <a:ext cx="4484397" cy="2070737"/>
          </a:xfrm>
          <a:prstGeom prst="wedgeRoundRectCallout">
            <a:avLst>
              <a:gd name="adj1" fmla="val 57412"/>
              <a:gd name="adj2" fmla="val 20076"/>
              <a:gd name="adj3" fmla="val 16667"/>
            </a:avLst>
          </a:prstGeom>
          <a:solidFill>
            <a:schemeClr val="bg1"/>
          </a:solidFill>
          <a:ln w="1905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Horizontally aligned tiles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provide better visual flow and less need to scroll back-and-forth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Consistent visual 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treatment for similar elements for better aesthetic appeal and lesser cognitive load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7EE0C9B-CA52-404C-9CCD-5571C9F9326C}"/>
              </a:ext>
            </a:extLst>
          </p:cNvPr>
          <p:cNvSpPr/>
          <p:nvPr/>
        </p:nvSpPr>
        <p:spPr>
          <a:xfrm>
            <a:off x="5566968" y="2412440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7729B5D-EA18-4796-AC95-FDFD891A14D2}"/>
              </a:ext>
            </a:extLst>
          </p:cNvPr>
          <p:cNvSpPr/>
          <p:nvPr/>
        </p:nvSpPr>
        <p:spPr>
          <a:xfrm>
            <a:off x="5695720" y="5173077"/>
            <a:ext cx="400280" cy="400280"/>
          </a:xfrm>
          <a:prstGeom prst="ellipse">
            <a:avLst/>
          </a:prstGeom>
          <a:solidFill>
            <a:srgbClr val="00B050"/>
          </a:solidFill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8B643B-502A-41F0-84ED-ED35F71C5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916" y="1570721"/>
            <a:ext cx="3779919" cy="207073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114300" dir="9060000" algn="tl" rotWithShape="0">
              <a:schemeClr val="tx1">
                <a:lumMod val="50000"/>
                <a:lumOff val="50000"/>
                <a:alpha val="43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168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D288803-A6C7-4081-95A5-15932004F3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55977" y="617687"/>
            <a:ext cx="7808575" cy="795089"/>
          </a:xfrm>
        </p:spPr>
        <p:txBody>
          <a:bodyPr/>
          <a:lstStyle/>
          <a:p>
            <a:r>
              <a:rPr lang="en-GB" dirty="0"/>
              <a:t>Heuristic analysis Of Blue </a:t>
            </a:r>
            <a:r>
              <a:rPr lang="en-GB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Horizon Blue Consumer porta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D1B4CB-3D0D-4878-9D48-BBF67E5758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10540" y="1772816"/>
            <a:ext cx="8208912" cy="648072"/>
          </a:xfrm>
        </p:spPr>
        <p:txBody>
          <a:bodyPr/>
          <a:lstStyle/>
          <a:p>
            <a:r>
              <a:rPr lang="en-US" sz="18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e have evaluated the current user experience with Jakob Nielsen’s 10 standard heuristics principles. </a:t>
            </a:r>
            <a:endParaRPr lang="en-US" sz="18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dirty="0">
              <a:solidFill>
                <a:schemeClr val="accent3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45E7C48-DD2C-40CC-B16F-A84911D789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9696" y="2636912"/>
            <a:ext cx="7416824" cy="3710780"/>
          </a:xfrm>
        </p:spPr>
        <p:txBody>
          <a:bodyPr/>
          <a:lstStyle/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Visibility of System Status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tch Between System and The Real World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User Control and Freedom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onsistency and Standards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rror Prevention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Recognition Rather Than Recall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Flexibility and Efficiency of Use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esthetic And Minimalist Design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Help Users Recognize, Diagnose, And Recover From Errors</a:t>
            </a:r>
          </a:p>
          <a:p>
            <a:pPr marL="342900" indent="-342900">
              <a:lnSpc>
                <a:spcPct val="130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Help And Documentation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1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rt Re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80728"/>
            <a:ext cx="12192000" cy="54894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aphicFrame>
        <p:nvGraphicFramePr>
          <p:cNvPr id="83" name="Diagram 82">
            <a:extLst>
              <a:ext uri="{FF2B5EF4-FFF2-40B4-BE49-F238E27FC236}">
                <a16:creationId xmlns:a16="http://schemas.microsoft.com/office/drawing/2014/main" id="{2B2FC2CA-C8E5-44E4-9355-CF180038E2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9465553"/>
              </p:ext>
            </p:extLst>
          </p:nvPr>
        </p:nvGraphicFramePr>
        <p:xfrm>
          <a:off x="407368" y="1196753"/>
          <a:ext cx="11377264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6" name="Rectangle 85">
            <a:extLst>
              <a:ext uri="{FF2B5EF4-FFF2-40B4-BE49-F238E27FC236}">
                <a16:creationId xmlns:a16="http://schemas.microsoft.com/office/drawing/2014/main" id="{EB7AEC7B-0812-4494-802D-B5553E354E98}"/>
              </a:ext>
            </a:extLst>
          </p:cNvPr>
          <p:cNvSpPr/>
          <p:nvPr/>
        </p:nvSpPr>
        <p:spPr>
          <a:xfrm>
            <a:off x="409846" y="1881160"/>
            <a:ext cx="3456384" cy="48086"/>
          </a:xfrm>
          <a:prstGeom prst="rect">
            <a:avLst/>
          </a:prstGeom>
          <a:solidFill>
            <a:srgbClr val="F6626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2684BB85-A2E0-46F6-BE1E-700E39A79AE3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ee-point scale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CE0A268-26CB-422A-9522-651C9FE47898}"/>
              </a:ext>
            </a:extLst>
          </p:cNvPr>
          <p:cNvSpPr txBox="1"/>
          <p:nvPr/>
        </p:nvSpPr>
        <p:spPr>
          <a:xfrm>
            <a:off x="407368" y="4995173"/>
            <a:ext cx="11377264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l"/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Please Note: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Observations are made purely on the basic understanding and UX best practices</a:t>
            </a:r>
          </a:p>
          <a:p>
            <a:pPr marL="171450" indent="-171450" algn="l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me of the observation might differ as they might be implemented due to business or technical requirement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0941EAB-DF76-4DB8-97A7-B70784BFC170}"/>
              </a:ext>
            </a:extLst>
          </p:cNvPr>
          <p:cNvSpPr txBox="1"/>
          <p:nvPr/>
        </p:nvSpPr>
        <p:spPr>
          <a:xfrm>
            <a:off x="395438" y="5733256"/>
            <a:ext cx="11796562" cy="568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* Usability Standards: ISO 9241-210:2010  Ergonomics of human-system interaction -- Part 210: Human-centered design for interactive system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** Accessibility Standards: http://www.w3.org/standards/webdesign/accessibility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61A19EDE-CF4A-4281-95F4-1A29307A5CE8}"/>
              </a:ext>
            </a:extLst>
          </p:cNvPr>
          <p:cNvSpPr/>
          <p:nvPr/>
        </p:nvSpPr>
        <p:spPr>
          <a:xfrm flipV="1">
            <a:off x="4360722" y="1880001"/>
            <a:ext cx="3470096" cy="45719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A714300-902E-422C-BE2D-B1039C2F6D32}"/>
              </a:ext>
            </a:extLst>
          </p:cNvPr>
          <p:cNvSpPr/>
          <p:nvPr/>
        </p:nvSpPr>
        <p:spPr>
          <a:xfrm flipV="1">
            <a:off x="8302047" y="1897400"/>
            <a:ext cx="3482586" cy="457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81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8DFCBAA-59BA-4E06-A460-71C273C83E7D}"/>
              </a:ext>
            </a:extLst>
          </p:cNvPr>
          <p:cNvSpPr txBox="1">
            <a:spLocks/>
          </p:cNvSpPr>
          <p:nvPr/>
        </p:nvSpPr>
        <p:spPr>
          <a:xfrm>
            <a:off x="7966990" y="1254899"/>
            <a:ext cx="4064195" cy="476638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Medium</a:t>
            </a:r>
          </a:p>
          <a:p>
            <a:pPr>
              <a:lnSpc>
                <a:spcPts val="1800"/>
              </a:lnSpc>
              <a:defRPr/>
            </a:pPr>
            <a:endParaRPr lang="en-US" sz="18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Flexibility and Efficiency of use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ssu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: “Get Quote” and “Enroll Now” are the primary action items which are not accessible to the users unless scrolled down.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Also, these buttons don’t have any hover effect. This behavior makes these cards less accessible, efficient and discoverable.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commendation</a:t>
            </a: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“Get Quote” and “Enroll Now” buttons could appear within Hero banner and provide clearer visual cue for clicking.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sz="1400" b="1" cap="none" dirty="0">
              <a:solidFill>
                <a:srgbClr val="000000"/>
              </a:solidFill>
              <a:highlight>
                <a:srgbClr val="00FFFF"/>
              </a:highlight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en-US" sz="1400" b="1" cap="none" dirty="0">
                <a:solidFill>
                  <a:srgbClr val="000000"/>
                </a:solidFill>
                <a:latin typeface="+mn-lt"/>
              </a:rPr>
              <a:t>Low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en-US" sz="1800" b="1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Aesthetic and minimalist design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: Top blue bar and blue buttons in the top header are too prominent and stealing attention away from primary tasks.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commendat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L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nguag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selection can be moved in white header below and make blue buttons less prominent so that users can focus on the primary intent of the page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2AC3F2-F206-4C06-A29B-EE8B1FDA95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15" y="1254899"/>
            <a:ext cx="7645360" cy="3974301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>
                <a:lumMod val="75000"/>
              </a:schemeClr>
            </a:solidFill>
            <a:miter lim="800000"/>
          </a:ln>
          <a:effectLst/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 evaluation –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me pag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6B2AD7-77B7-4F50-ADEA-5AC54C8C8483}"/>
              </a:ext>
            </a:extLst>
          </p:cNvPr>
          <p:cNvSpPr/>
          <p:nvPr/>
        </p:nvSpPr>
        <p:spPr>
          <a:xfrm>
            <a:off x="8066089" y="4294189"/>
            <a:ext cx="3865995" cy="457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FF"/>
              </a:highlight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0F0937-CD8D-481F-B9A3-D7D30C2FE385}"/>
              </a:ext>
            </a:extLst>
          </p:cNvPr>
          <p:cNvSpPr/>
          <p:nvPr/>
        </p:nvSpPr>
        <p:spPr>
          <a:xfrm flipV="1">
            <a:off x="8040216" y="1556792"/>
            <a:ext cx="3865995" cy="45719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39FB3F41-51E1-467C-BC74-C25C99A46E7D}"/>
              </a:ext>
            </a:extLst>
          </p:cNvPr>
          <p:cNvCxnSpPr>
            <a:cxnSpLocks/>
          </p:cNvCxnSpPr>
          <p:nvPr/>
        </p:nvCxnSpPr>
        <p:spPr>
          <a:xfrm flipH="1" flipV="1">
            <a:off x="3863752" y="1772816"/>
            <a:ext cx="4103238" cy="2880320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9E6399F-A33B-4B9D-BBD0-38FF814B9EB8}"/>
              </a:ext>
            </a:extLst>
          </p:cNvPr>
          <p:cNvCxnSpPr>
            <a:cxnSpLocks/>
          </p:cNvCxnSpPr>
          <p:nvPr/>
        </p:nvCxnSpPr>
        <p:spPr>
          <a:xfrm flipH="1">
            <a:off x="3902795" y="1916832"/>
            <a:ext cx="4064195" cy="2261321"/>
          </a:xfrm>
          <a:prstGeom prst="straightConnector1">
            <a:avLst/>
          </a:prstGeom>
          <a:ln w="28575">
            <a:solidFill>
              <a:srgbClr val="FFC00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EAB5F9C3-B888-46FB-AA4A-D7C000227AFA}"/>
              </a:ext>
            </a:extLst>
          </p:cNvPr>
          <p:cNvSpPr/>
          <p:nvPr/>
        </p:nvSpPr>
        <p:spPr>
          <a:xfrm>
            <a:off x="407368" y="1254899"/>
            <a:ext cx="7272808" cy="517917"/>
          </a:xfrm>
          <a:prstGeom prst="rect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7494EC-BA30-47B5-A50E-5B26453C2B93}"/>
              </a:ext>
            </a:extLst>
          </p:cNvPr>
          <p:cNvSpPr/>
          <p:nvPr/>
        </p:nvSpPr>
        <p:spPr>
          <a:xfrm>
            <a:off x="1101431" y="4178153"/>
            <a:ext cx="5786657" cy="1051047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144320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 evaluation –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 A Quo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5D8CA2E-AA51-47AF-AFE2-631D309AAE78}"/>
              </a:ext>
            </a:extLst>
          </p:cNvPr>
          <p:cNvSpPr txBox="1">
            <a:spLocks/>
          </p:cNvSpPr>
          <p:nvPr/>
        </p:nvSpPr>
        <p:spPr>
          <a:xfrm>
            <a:off x="7966990" y="1254899"/>
            <a:ext cx="4064195" cy="476638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High</a:t>
            </a:r>
          </a:p>
          <a:p>
            <a:pPr>
              <a:lnSpc>
                <a:spcPts val="1800"/>
              </a:lnSpc>
              <a:defRPr/>
            </a:pPr>
            <a:endParaRPr lang="en-US" sz="18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Visibility of system status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ssu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: This page needs to clearly indicate the primary function/purpose.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User can have hard time to find out what’s the current page and functionality offered.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commendation</a:t>
            </a: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Every page in quote creating flow can have “Create a Quote” page title</a:t>
            </a:r>
          </a:p>
          <a:p>
            <a:pPr>
              <a:lnSpc>
                <a:spcPts val="1800"/>
              </a:lnSpc>
              <a:defRPr/>
            </a:pPr>
            <a:endParaRPr lang="en-US" sz="12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User control and freedom</a:t>
            </a:r>
            <a:endParaRPr lang="en-US" sz="12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: This page need a clearly marked “Exit” to leave get a quote workflow. 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Recommendation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: Provide close / exit button so that user can exit this process at any time.</a:t>
            </a:r>
            <a:endParaRPr lang="en-US" sz="14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endParaRPr lang="en-US" sz="14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Medium</a:t>
            </a:r>
            <a:endParaRPr lang="en-US" sz="14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endParaRPr lang="en-US" sz="1200" b="1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Aesthetic and minimalist design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The hero banner is taking too much of real estate and attention unnecessarily. 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Recommendation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Eliminate Hero banner in order to make quoting questions prominently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81CE9F-7751-4745-9FBA-4DE1C1515F9D}"/>
              </a:ext>
            </a:extLst>
          </p:cNvPr>
          <p:cNvSpPr/>
          <p:nvPr/>
        </p:nvSpPr>
        <p:spPr>
          <a:xfrm flipV="1">
            <a:off x="8040216" y="1556792"/>
            <a:ext cx="3865995" cy="45719"/>
          </a:xfrm>
          <a:prstGeom prst="rect">
            <a:avLst/>
          </a:prstGeom>
          <a:solidFill>
            <a:srgbClr val="FF505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EFA8904-CA05-4947-AD5C-494377ED5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134" y="1774112"/>
            <a:ext cx="7372131" cy="349781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D6D2D9E-F440-4D97-A266-88842C9A7767}"/>
              </a:ext>
            </a:extLst>
          </p:cNvPr>
          <p:cNvSpPr/>
          <p:nvPr/>
        </p:nvSpPr>
        <p:spPr>
          <a:xfrm>
            <a:off x="586290" y="2867957"/>
            <a:ext cx="6836363" cy="344136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907F0DD-0BC8-4363-8B0D-59822D60E457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5375920" y="1484784"/>
            <a:ext cx="2582501" cy="1052386"/>
          </a:xfrm>
          <a:prstGeom prst="straightConnector1">
            <a:avLst/>
          </a:prstGeom>
          <a:ln w="28575">
            <a:solidFill>
              <a:srgbClr val="FF505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48939D4-15FC-42FD-AD98-6FED815A34FF}"/>
              </a:ext>
            </a:extLst>
          </p:cNvPr>
          <p:cNvSpPr/>
          <p:nvPr/>
        </p:nvSpPr>
        <p:spPr>
          <a:xfrm>
            <a:off x="390773" y="2383066"/>
            <a:ext cx="4985147" cy="308208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0C2D0BD-609B-43F5-ACA0-37CA22ADF9AA}"/>
              </a:ext>
            </a:extLst>
          </p:cNvPr>
          <p:cNvSpPr/>
          <p:nvPr/>
        </p:nvSpPr>
        <p:spPr>
          <a:xfrm flipV="1">
            <a:off x="8066089" y="4941168"/>
            <a:ext cx="3865995" cy="45719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C996863-B7F1-45FA-BEF4-509E205E3319}"/>
              </a:ext>
            </a:extLst>
          </p:cNvPr>
          <p:cNvCxnSpPr>
            <a:cxnSpLocks/>
          </p:cNvCxnSpPr>
          <p:nvPr/>
        </p:nvCxnSpPr>
        <p:spPr>
          <a:xfrm flipH="1" flipV="1">
            <a:off x="7434072" y="4434840"/>
            <a:ext cx="632017" cy="391593"/>
          </a:xfrm>
          <a:prstGeom prst="straightConnector1">
            <a:avLst/>
          </a:prstGeom>
          <a:ln w="28575">
            <a:solidFill>
              <a:srgbClr val="FFC00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5CF27C46-F4C6-4B90-A02C-1657D4E9B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4831" y="5224174"/>
            <a:ext cx="3240360" cy="106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6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 evaluation –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 A Quo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5D8CA2E-AA51-47AF-AFE2-631D309AAE78}"/>
              </a:ext>
            </a:extLst>
          </p:cNvPr>
          <p:cNvSpPr txBox="1">
            <a:spLocks/>
          </p:cNvSpPr>
          <p:nvPr/>
        </p:nvSpPr>
        <p:spPr>
          <a:xfrm>
            <a:off x="7966990" y="1254899"/>
            <a:ext cx="4064195" cy="476638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High</a:t>
            </a:r>
          </a:p>
          <a:p>
            <a:pPr>
              <a:lnSpc>
                <a:spcPts val="1800"/>
              </a:lnSpc>
              <a:defRPr/>
            </a:pPr>
            <a:endParaRPr lang="en-US" sz="18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Visibility of system status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ssu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Blue Horizon offers services in only specific zip codes. This page does not clearly communicate this information. Also, this UI promp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accurate / misleading error message even after providing a valid zip code. </a:t>
            </a:r>
          </a:p>
          <a:p>
            <a:pPr>
              <a:lnSpc>
                <a:spcPts val="1800"/>
              </a:lnSpc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commendation</a:t>
            </a: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Provide clear instructions and appropriate error message about acceptable zip codes to eliminate error-prone condition. </a:t>
            </a:r>
          </a:p>
          <a:p>
            <a:pPr>
              <a:lnSpc>
                <a:spcPts val="1800"/>
              </a:lnSpc>
              <a:defRPr/>
            </a:pPr>
            <a:endParaRPr lang="en-US" sz="1400" b="1" cap="none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Low</a:t>
            </a:r>
            <a:endParaRPr lang="en-US" sz="14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endParaRPr lang="en-US" sz="1200" b="1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Aesthetic and minimalist design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This page requires users to excessively scroll back-and-forth to read questions and the options. This behavior can be annoying to user and harm users’ focus.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Recommendation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Arrange page content to reduce motor movements and cognitive load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81CE9F-7751-4745-9FBA-4DE1C1515F9D}"/>
              </a:ext>
            </a:extLst>
          </p:cNvPr>
          <p:cNvSpPr/>
          <p:nvPr/>
        </p:nvSpPr>
        <p:spPr>
          <a:xfrm flipV="1">
            <a:off x="8040216" y="1556792"/>
            <a:ext cx="3865995" cy="45719"/>
          </a:xfrm>
          <a:prstGeom prst="rect">
            <a:avLst/>
          </a:prstGeom>
          <a:solidFill>
            <a:srgbClr val="FF505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0C2D0BD-609B-43F5-ACA0-37CA22ADF9AA}"/>
              </a:ext>
            </a:extLst>
          </p:cNvPr>
          <p:cNvSpPr/>
          <p:nvPr/>
        </p:nvSpPr>
        <p:spPr>
          <a:xfrm flipV="1">
            <a:off x="8048560" y="4305067"/>
            <a:ext cx="3865995" cy="457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EB1113-43F3-4312-A288-571FAB611B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18" r="1618"/>
          <a:stretch/>
        </p:blipFill>
        <p:spPr>
          <a:xfrm>
            <a:off x="278332" y="1254900"/>
            <a:ext cx="5025580" cy="231129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68FD647-9489-46D1-88A2-CF808CA01B37}"/>
              </a:ext>
            </a:extLst>
          </p:cNvPr>
          <p:cNvSpPr/>
          <p:nvPr/>
        </p:nvSpPr>
        <p:spPr>
          <a:xfrm>
            <a:off x="1048482" y="2060848"/>
            <a:ext cx="3751374" cy="1275161"/>
          </a:xfrm>
          <a:prstGeom prst="rect">
            <a:avLst/>
          </a:prstGeom>
          <a:noFill/>
          <a:ln w="28575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955BC36-1EF5-40BE-A767-0BC330E71A44}"/>
              </a:ext>
            </a:extLst>
          </p:cNvPr>
          <p:cNvCxnSpPr>
            <a:cxnSpLocks/>
          </p:cNvCxnSpPr>
          <p:nvPr/>
        </p:nvCxnSpPr>
        <p:spPr>
          <a:xfrm flipH="1">
            <a:off x="4799856" y="1484784"/>
            <a:ext cx="3158565" cy="1275161"/>
          </a:xfrm>
          <a:prstGeom prst="straightConnector1">
            <a:avLst/>
          </a:prstGeom>
          <a:ln w="28575">
            <a:solidFill>
              <a:srgbClr val="FF505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034F0FC-4217-4CD5-A1BC-D2A7B89854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3561" y="3698851"/>
            <a:ext cx="3951898" cy="25303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825EDB9-C3DE-4875-AB8A-3743301A0D00}"/>
              </a:ext>
            </a:extLst>
          </p:cNvPr>
          <p:cNvCxnSpPr>
            <a:cxnSpLocks/>
          </p:cNvCxnSpPr>
          <p:nvPr/>
        </p:nvCxnSpPr>
        <p:spPr>
          <a:xfrm flipH="1">
            <a:off x="6759207" y="4221088"/>
            <a:ext cx="1207783" cy="74834"/>
          </a:xfrm>
          <a:prstGeom prst="straightConnector1">
            <a:avLst/>
          </a:prstGeom>
          <a:ln w="28575">
            <a:solidFill>
              <a:schemeClr val="accent5">
                <a:lumMod val="60000"/>
                <a:lumOff val="40000"/>
              </a:schemeClr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62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BE7B71-8B85-43E7-B221-2E7C50B7586E}"/>
              </a:ext>
            </a:extLst>
          </p:cNvPr>
          <p:cNvSpPr/>
          <p:nvPr/>
        </p:nvSpPr>
        <p:spPr>
          <a:xfrm>
            <a:off x="0" y="978927"/>
            <a:ext cx="12192000" cy="5489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606F1E-BD60-48A8-BB0C-3E485C612D3D}"/>
              </a:ext>
            </a:extLst>
          </p:cNvPr>
          <p:cNvSpPr txBox="1">
            <a:spLocks/>
          </p:cNvSpPr>
          <p:nvPr/>
        </p:nvSpPr>
        <p:spPr>
          <a:xfrm>
            <a:off x="263352" y="173406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 Medium" panose="020B06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uristic evaluation – Consumer Porta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542BC62-BF57-4752-88AA-F4304A2626D5}"/>
              </a:ext>
            </a:extLst>
          </p:cNvPr>
          <p:cNvSpPr txBox="1">
            <a:spLocks/>
          </p:cNvSpPr>
          <p:nvPr/>
        </p:nvSpPr>
        <p:spPr>
          <a:xfrm>
            <a:off x="260796" y="548680"/>
            <a:ext cx="10947772" cy="3461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buntu" panose="020B05040306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t A Quo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5D8CA2E-AA51-47AF-AFE2-631D309AAE78}"/>
              </a:ext>
            </a:extLst>
          </p:cNvPr>
          <p:cNvSpPr txBox="1">
            <a:spLocks/>
          </p:cNvSpPr>
          <p:nvPr/>
        </p:nvSpPr>
        <p:spPr>
          <a:xfrm>
            <a:off x="7966990" y="1254899"/>
            <a:ext cx="4064195" cy="491040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2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00"/>
              </a:lnSpc>
              <a:defRPr/>
            </a:pPr>
            <a:r>
              <a:rPr lang="en-US" sz="1400" b="1" cap="none" dirty="0">
                <a:solidFill>
                  <a:schemeClr val="tx1"/>
                </a:solidFill>
                <a:latin typeface="+mn-lt"/>
              </a:rPr>
              <a:t>Medium</a:t>
            </a:r>
            <a:endParaRPr lang="en-US" sz="14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endParaRPr lang="en-US" sz="1200" b="1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Heuristic: Aesthetic and minimalist design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Too many horizontal, vertical and internal scrolling causes too much of motor load on the user. User must constantly scroll back-and-forth to access different information and functionality.</a:t>
            </a:r>
          </a:p>
          <a:p>
            <a:pPr>
              <a:lnSpc>
                <a:spcPts val="1800"/>
              </a:lnSpc>
              <a:defRPr/>
            </a:pPr>
            <a:r>
              <a:rPr lang="en-US" sz="1200" cap="none" dirty="0">
                <a:solidFill>
                  <a:srgbClr val="000000"/>
                </a:solidFill>
                <a:latin typeface="+mn-lt"/>
              </a:rPr>
              <a:t>This behavior can be annoying to user and harm users’ focus.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Recommendation: 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Arrange Compare section and plan filters in a way, which can be seen and accessed easily without scrolling a lot. Make “COMPARE PLANS” function more intuitive.</a:t>
            </a:r>
          </a:p>
          <a:p>
            <a:pPr>
              <a:lnSpc>
                <a:spcPts val="1800"/>
              </a:lnSpc>
              <a:defRPr/>
            </a:pPr>
            <a:endParaRPr lang="en-US" sz="1200" cap="none" dirty="0">
              <a:solidFill>
                <a:srgbClr val="000000"/>
              </a:solidFill>
              <a:latin typeface="+mn-lt"/>
            </a:endParaRP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Issue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: Multiple buttons (Compare plans, Select Plans, Back, Review quote) with similar level of importance and visual treatment causes conflict and divided attention. </a:t>
            </a:r>
          </a:p>
          <a:p>
            <a:pPr>
              <a:lnSpc>
                <a:spcPts val="1800"/>
              </a:lnSpc>
              <a:defRPr/>
            </a:pPr>
            <a:r>
              <a:rPr lang="en-US" sz="1200" b="1" cap="none" dirty="0">
                <a:solidFill>
                  <a:srgbClr val="000000"/>
                </a:solidFill>
                <a:latin typeface="+mn-lt"/>
              </a:rPr>
              <a:t>Recommendation</a:t>
            </a:r>
            <a:r>
              <a:rPr lang="en-US" sz="1200" cap="none" dirty="0">
                <a:solidFill>
                  <a:srgbClr val="000000"/>
                </a:solidFill>
                <a:latin typeface="+mn-lt"/>
              </a:rPr>
              <a:t>: Maintain proper visual hierarchy in button treatment. Each page should have only one primary action button and rest secondary or tertiary actions. </a:t>
            </a:r>
          </a:p>
          <a:p>
            <a:pPr>
              <a:lnSpc>
                <a:spcPts val="1800"/>
              </a:lnSpc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  <a:p>
            <a:pPr>
              <a:lnSpc>
                <a:spcPts val="1800"/>
              </a:lnSpc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81CE9F-7751-4745-9FBA-4DE1C1515F9D}"/>
              </a:ext>
            </a:extLst>
          </p:cNvPr>
          <p:cNvSpPr/>
          <p:nvPr/>
        </p:nvSpPr>
        <p:spPr>
          <a:xfrm flipV="1">
            <a:off x="8040216" y="1556792"/>
            <a:ext cx="3865995" cy="45719"/>
          </a:xfrm>
          <a:prstGeom prst="rect">
            <a:avLst/>
          </a:prstGeom>
          <a:solidFill>
            <a:srgbClr val="FFC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F756EC2-FE23-45BD-9C07-70A76F7904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00" y="1254899"/>
            <a:ext cx="7558375" cy="35280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01933AA-B3D3-4B83-AE73-543375A4F8F8}"/>
              </a:ext>
            </a:extLst>
          </p:cNvPr>
          <p:cNvSpPr/>
          <p:nvPr/>
        </p:nvSpPr>
        <p:spPr>
          <a:xfrm>
            <a:off x="225360" y="3723640"/>
            <a:ext cx="7558375" cy="1059312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CEED5EB-B809-4992-BAE7-3EBA128FE249}"/>
              </a:ext>
            </a:extLst>
          </p:cNvPr>
          <p:cNvCxnSpPr>
            <a:cxnSpLocks/>
          </p:cNvCxnSpPr>
          <p:nvPr/>
        </p:nvCxnSpPr>
        <p:spPr>
          <a:xfrm flipH="1" flipV="1">
            <a:off x="7176120" y="4178153"/>
            <a:ext cx="864096" cy="474983"/>
          </a:xfrm>
          <a:prstGeom prst="straightConnector1">
            <a:avLst/>
          </a:prstGeom>
          <a:ln w="28575">
            <a:solidFill>
              <a:srgbClr val="FFC00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859FDA5-42A8-4086-AF63-4C7E384D1029}"/>
              </a:ext>
            </a:extLst>
          </p:cNvPr>
          <p:cNvCxnSpPr>
            <a:cxnSpLocks/>
          </p:cNvCxnSpPr>
          <p:nvPr/>
        </p:nvCxnSpPr>
        <p:spPr>
          <a:xfrm flipH="1" flipV="1">
            <a:off x="1055440" y="4509120"/>
            <a:ext cx="6984776" cy="144016"/>
          </a:xfrm>
          <a:prstGeom prst="straightConnector1">
            <a:avLst/>
          </a:prstGeom>
          <a:ln w="28575">
            <a:solidFill>
              <a:srgbClr val="FFC000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37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8D696E-B4E9-4F10-824F-B9B79E98BE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813" y="2015842"/>
            <a:ext cx="11386134" cy="1569660"/>
          </a:xfrm>
        </p:spPr>
        <p:txBody>
          <a:bodyPr/>
          <a:lstStyle/>
          <a:p>
            <a:r>
              <a:rPr lang="en-GB" dirty="0"/>
              <a:t>Blue Cross Blue Shield</a:t>
            </a:r>
            <a:br>
              <a:rPr lang="en-GB" dirty="0"/>
            </a:br>
            <a:r>
              <a:rPr lang="en-GB" sz="3600" dirty="0"/>
              <a:t>Horizon Blue: Proposed Design</a:t>
            </a:r>
            <a:endParaRPr lang="en-GB" sz="2400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D65D8CDD-4C58-4EBA-861D-05FBDBE637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289" y="6165304"/>
            <a:ext cx="6267251" cy="307777"/>
          </a:xfrm>
        </p:spPr>
        <p:txBody>
          <a:bodyPr/>
          <a:lstStyle/>
          <a:p>
            <a:r>
              <a:rPr lang="en-GB" dirty="0"/>
              <a:t>October 2022</a:t>
            </a:r>
          </a:p>
        </p:txBody>
      </p:sp>
    </p:spTree>
    <p:extLst>
      <p:ext uri="{BB962C8B-B14F-4D97-AF65-F5344CB8AC3E}">
        <p14:creationId xmlns:p14="http://schemas.microsoft.com/office/powerpoint/2010/main" val="2743208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44807-AC5A-4F31-924A-460E47DDE4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4352" y="2780928"/>
            <a:ext cx="2604334" cy="864096"/>
          </a:xfrm>
        </p:spPr>
        <p:txBody>
          <a:bodyPr/>
          <a:lstStyle/>
          <a:p>
            <a:r>
              <a:rPr lang="en-US" dirty="0">
                <a:solidFill>
                  <a:schemeClr val="accent5">
                    <a:lumMod val="40000"/>
                    <a:lumOff val="6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ew the interactive prototype of the proposed design</a:t>
            </a:r>
            <a:r>
              <a:rPr lang="en-US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 &gt;</a:t>
            </a:r>
          </a:p>
        </p:txBody>
      </p:sp>
      <p:pic>
        <p:nvPicPr>
          <p:cNvPr id="4" name="Picture 3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D37C98BA-2A9D-4394-9BED-90D015BE37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90"/>
          <a:stretch/>
        </p:blipFill>
        <p:spPr>
          <a:xfrm>
            <a:off x="396940" y="312018"/>
            <a:ext cx="8363356" cy="5816266"/>
          </a:xfrm>
          <a:prstGeom prst="roundRect">
            <a:avLst>
              <a:gd name="adj" fmla="val 1508"/>
            </a:avLst>
          </a:prstGeom>
          <a:solidFill>
            <a:srgbClr val="FFFFFF">
              <a:shade val="85000"/>
            </a:srgbClr>
          </a:solidFill>
          <a:ln w="76200">
            <a:solidFill>
              <a:srgbClr val="000000"/>
            </a:solidFill>
          </a:ln>
          <a:effectLst>
            <a:reflection blurRad="6350" stA="31000" endPos="9000" dist="508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400380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apgemini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Green A">
      <a:srgbClr val="57CF80"/>
    </a:custClr>
    <a:custClr name="Green B">
      <a:srgbClr val="33B569"/>
    </a:custClr>
    <a:custClr name="Green C">
      <a:srgbClr val="2EA657"/>
    </a:custClr>
    <a:custClr name="Green D">
      <a:srgbClr val="178C3D"/>
    </a:custClr>
    <a:custClr name="Green E">
      <a:srgbClr val="176036"/>
    </a:custClr>
    <a:custClr name="Teal A">
      <a:srgbClr val="00E6E3"/>
    </a:custClr>
    <a:custClr name="Teal B">
      <a:srgbClr val="00D5D0"/>
    </a:custClr>
    <a:custClr name="Teal C">
      <a:srgbClr val="00BFBF"/>
    </a:custClr>
    <a:custClr name="Teal D">
      <a:srgbClr val="00929B"/>
    </a:custClr>
    <a:custClr name="Teal E">
      <a:srgbClr val="007D74"/>
    </a:custClr>
    <a:custClr name="Peacock A">
      <a:srgbClr val="00E0CB"/>
    </a:custClr>
    <a:custClr name="Peacock B">
      <a:srgbClr val="00B2A2"/>
    </a:custClr>
    <a:custClr name="Peacock C">
      <a:srgbClr val="0F878A"/>
    </a:custClr>
    <a:custClr name="Peacock D">
      <a:srgbClr val="0F6A73"/>
    </a:custClr>
    <a:custClr name="Peacock E">
      <a:srgbClr val="0F434A"/>
    </a:custClr>
    <a:custClr name="Sapphire A">
      <a:srgbClr val="338091"/>
    </a:custClr>
    <a:custClr name="Sapphire B">
      <a:srgbClr val="336B7D"/>
    </a:custClr>
    <a:custClr name="Sapphire C">
      <a:srgbClr val="14596B"/>
    </a:custClr>
    <a:custClr name="Sapphire D">
      <a:srgbClr val="214554"/>
    </a:custClr>
    <a:custClr name="Sapphire E">
      <a:srgbClr val="173340"/>
    </a:custClr>
    <a:custClr name="Violet A">
      <a:srgbClr val="E557AD"/>
    </a:custClr>
    <a:custClr name="Violet B">
      <a:srgbClr val="D13A8C"/>
    </a:custClr>
    <a:custClr name="Violet C">
      <a:srgbClr val="BA2980"/>
    </a:custClr>
    <a:custClr name="Violet D">
      <a:srgbClr val="A12980"/>
    </a:custClr>
    <a:custClr name="Violet E">
      <a:srgbClr val="811B6F"/>
    </a:custClr>
    <a:custClr name="Yellow A">
      <a:srgbClr val="FFDA80"/>
    </a:custClr>
    <a:custClr name="Yellow B">
      <a:srgbClr val="FFD068"/>
    </a:custClr>
    <a:custClr name="Yellow C">
      <a:srgbClr val="FFB24A"/>
    </a:custClr>
    <a:custClr name="Yellow D">
      <a:srgbClr val="FF9C29"/>
    </a:custClr>
    <a:custClr name="Yellow E">
      <a:srgbClr val="FF8E12"/>
    </a:custClr>
    <a:custClr name="Velvet A">
      <a:srgbClr val="9E4780"/>
    </a:custClr>
    <a:custClr name="Velvet B">
      <a:srgbClr val="802B73"/>
    </a:custClr>
    <a:custClr name="Velvet C">
      <a:srgbClr val="750D5C"/>
    </a:custClr>
    <a:custClr name="Velvet D">
      <a:srgbClr val="590A42"/>
    </a:custClr>
    <a:custClr name="Velvet E">
      <a:srgbClr val="42142E"/>
    </a:custClr>
    <a:custClr name="Red A">
      <a:srgbClr val="FF5770"/>
    </a:custClr>
    <a:custClr name="Red B">
      <a:srgbClr val="FF455E"/>
    </a:custClr>
    <a:custClr name="Red C">
      <a:srgbClr val="FF304D"/>
    </a:custClr>
    <a:custClr name="Red D">
      <a:srgbClr val="E30021"/>
    </a:custClr>
    <a:custClr name="Red E">
      <a:srgbClr val="A6001A"/>
    </a:custClr>
  </a:custClrLst>
  <a:extLst>
    <a:ext uri="{05A4C25C-085E-4340-85A3-A5531E510DB2}">
      <thm15:themeFamily xmlns:thm15="http://schemas.microsoft.com/office/thememl/2012/main" name="Capgemini Template.potx" id="{CBFF93A5-2DF8-4330-839D-D3D65D7386C8}" vid="{B804656F-51A1-4CCF-9635-ED739E54375F}"/>
    </a:ext>
  </a:extLst>
</a:theme>
</file>

<file path=ppt/theme/theme2.xml><?xml version="1.0" encoding="utf-8"?>
<a:theme xmlns:a="http://schemas.openxmlformats.org/drawingml/2006/main" name="3_Capgemini Master 2021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ésentation11" id="{18B0FA0E-52BA-4F3F-B2FD-88B4C8061DF8}" vid="{6634CB38-2CA3-42B5-9F43-E11F89D9B245}"/>
    </a:ext>
  </a:extLst>
</a:theme>
</file>

<file path=ppt/theme/theme3.xml><?xml version="1.0" encoding="utf-8"?>
<a:theme xmlns:a="http://schemas.openxmlformats.org/drawingml/2006/main" name="Tema do Offic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2021">
      <a:dk1>
        <a:sysClr val="windowText" lastClr="000000"/>
      </a:dk1>
      <a:lt1>
        <a:srgbClr val="FFFFFF"/>
      </a:lt1>
      <a:dk2>
        <a:srgbClr val="000000"/>
      </a:dk2>
      <a:lt2>
        <a:srgbClr val="ECECEC"/>
      </a:lt2>
      <a:accent1>
        <a:srgbClr val="0070AD"/>
      </a:accent1>
      <a:accent2>
        <a:srgbClr val="12ABDB"/>
      </a:accent2>
      <a:accent3>
        <a:srgbClr val="2B0A3D"/>
      </a:accent3>
      <a:accent4>
        <a:srgbClr val="272936"/>
      </a:accent4>
      <a:accent5>
        <a:srgbClr val="0F878A"/>
      </a:accent5>
      <a:accent6>
        <a:srgbClr val="14596B"/>
      </a:accent6>
      <a:hlink>
        <a:srgbClr val="00929B"/>
      </a:hlink>
      <a:folHlink>
        <a:srgbClr val="00E6E3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DB8F1B61B4E349B1D07C13E9DB8DAC" ma:contentTypeVersion="9" ma:contentTypeDescription="Crée un document." ma:contentTypeScope="" ma:versionID="c4b8dcacc5dda4acca8dbac7a1e3a0c9">
  <xsd:schema xmlns:xsd="http://www.w3.org/2001/XMLSchema" xmlns:xs="http://www.w3.org/2001/XMLSchema" xmlns:p="http://schemas.microsoft.com/office/2006/metadata/properties" xmlns:ns2="f1122fed-4606-4ec8-90ef-13536176a38c" xmlns:ns3="83fd27e2-85d6-4e10-9bbd-a3e555ecf21b" targetNamespace="http://schemas.microsoft.com/office/2006/metadata/properties" ma:root="true" ma:fieldsID="7537925aab904629113bea5a06b0675c" ns2:_="" ns3:_="">
    <xsd:import namespace="f1122fed-4606-4ec8-90ef-13536176a38c"/>
    <xsd:import namespace="83fd27e2-85d6-4e10-9bbd-a3e555ecf21b"/>
    <xsd:element name="properties">
      <xsd:complexType>
        <xsd:sequence>
          <xsd:element name="documentManagement">
            <xsd:complexType>
              <xsd:all>
                <xsd:element ref="ns2:Entity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Classification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122fed-4606-4ec8-90ef-13536176a38c" elementFormDefault="qualified">
    <xsd:import namespace="http://schemas.microsoft.com/office/2006/documentManagement/types"/>
    <xsd:import namespace="http://schemas.microsoft.com/office/infopath/2007/PartnerControls"/>
    <xsd:element name="Entity" ma:index="8" ma:displayName="Entity" ma:format="RadioButtons" ma:internalName="Entity">
      <xsd:simpleType>
        <xsd:restriction base="dms:Choice">
          <xsd:enumeration value="Capgemini Group"/>
          <xsd:enumeration value="Capgemini Invent"/>
          <xsd:enumeration value="Group IT"/>
          <xsd:enumeration value="Sogeti"/>
          <xsd:enumeration value="Capgemini Engineering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Classification" ma:index="13" ma:displayName="Classification" ma:description="Data Classification" ma:format="RadioButtons" ma:internalName="Classification">
      <xsd:simpleType>
        <xsd:restriction base="dms:Choice">
          <xsd:enumeration value="Company Public (Sec 0)"/>
          <xsd:enumeration value="Company Confidential (Sec 1)"/>
          <xsd:enumeration value="Company Restricted (Sec 2)"/>
          <xsd:enumeration value="Company Sensitive (Sec 3)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fd27e2-85d6-4e10-9bbd-a3e555ecf21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ntity xmlns="f1122fed-4606-4ec8-90ef-13536176a38c">Capgemini Group</Entity>
    <Classification xmlns="f1122fed-4606-4ec8-90ef-13536176a38c">Company Public (Sec 0)</Classification>
  </documentManagement>
</p:properties>
</file>

<file path=customXml/itemProps1.xml><?xml version="1.0" encoding="utf-8"?>
<ds:datastoreItem xmlns:ds="http://schemas.openxmlformats.org/officeDocument/2006/customXml" ds:itemID="{93B09ECE-D1C0-42A5-B69E-8C88764DB9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61C110-BE0B-4EAD-9528-FA14B1EAE4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122fed-4606-4ec8-90ef-13536176a38c"/>
    <ds:schemaRef ds:uri="83fd27e2-85d6-4e10-9bbd-a3e555ecf2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65F6DA-EDFD-4C3F-B2EB-EDE359E124E2}">
  <ds:schemaRefs>
    <ds:schemaRef ds:uri="http://purl.org/dc/elements/1.1/"/>
    <ds:schemaRef ds:uri="http://schemas.microsoft.com/office/2006/metadata/properties"/>
    <ds:schemaRef ds:uri="83fd27e2-85d6-4e10-9bbd-a3e555ecf21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1122fed-4606-4ec8-90ef-13536176a38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gemini Template</Template>
  <TotalTime>2306</TotalTime>
  <Words>1029</Words>
  <Application>Microsoft Office PowerPoint</Application>
  <PresentationFormat>Widescreen</PresentationFormat>
  <Paragraphs>135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Ubuntu Medium</vt:lpstr>
      <vt:lpstr>Ubuntu</vt:lpstr>
      <vt:lpstr>Ubuntu Light</vt:lpstr>
      <vt:lpstr>Wingdings</vt:lpstr>
      <vt:lpstr>Futura LT</vt:lpstr>
      <vt:lpstr>Capgemini2021</vt:lpstr>
      <vt:lpstr>3_Capgemini Master 2021</vt:lpstr>
      <vt:lpstr>think-cell Slide</vt:lpstr>
      <vt:lpstr>Blue Cross Blue Shield Horizon Blue: heuristic evaluation</vt:lpstr>
      <vt:lpstr>Heuristic analysis Of Blue Horizon Blue Consumer port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lue Cross Blue Shield Horizon Blue: Proposed Design</vt:lpstr>
      <vt:lpstr>PowerPoint Presentation</vt:lpstr>
      <vt:lpstr>PowerPoint Presentation</vt:lpstr>
      <vt:lpstr>PowerPoint Presentation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PS Read me and delete ME</dc:title>
  <dc:subject>Capgemini template</dc:subject>
  <dc:creator>Capgemini</dc:creator>
  <cp:lastModifiedBy>Jeff Miller</cp:lastModifiedBy>
  <cp:revision>18</cp:revision>
  <dcterms:created xsi:type="dcterms:W3CDTF">2022-02-02T12:18:26Z</dcterms:created>
  <dcterms:modified xsi:type="dcterms:W3CDTF">2022-10-27T21:44:47Z</dcterms:modified>
  <cp:category>Enter Data Classific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DB8F1B61B4E349B1D07C13E9DB8DAC</vt:lpwstr>
  </property>
</Properties>
</file>